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7"/>
  </p:notesMasterIdLst>
  <p:handoutMasterIdLst>
    <p:handoutMasterId r:id="rId8"/>
  </p:handoutMasterIdLst>
  <p:sldIdLst>
    <p:sldId id="266" r:id="rId2"/>
    <p:sldId id="258" r:id="rId3"/>
    <p:sldId id="263" r:id="rId4"/>
    <p:sldId id="262" r:id="rId5"/>
    <p:sldId id="264" r:id="rId6"/>
  </p:sldIdLst>
  <p:sldSz cx="12192000" cy="6858000"/>
  <p:notesSz cx="6950075" cy="9236075"/>
  <p:custShowLst>
    <p:custShow name="Format Guide Workshop" id="0">
      <p:sldLst/>
    </p:custShow>
  </p:custShowLst>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6F3C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323" autoAdjust="0"/>
  </p:normalViewPr>
  <p:slideViewPr>
    <p:cSldViewPr snapToGrid="0">
      <p:cViewPr>
        <p:scale>
          <a:sx n="65" d="100"/>
          <a:sy n="65" d="100"/>
        </p:scale>
        <p:origin x="76" y="25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23/2024</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23/20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8326595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jp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1.xml"/><Relationship Id="rId1" Type="http://schemas.openxmlformats.org/officeDocument/2006/relationships/tags" Target="../tags/tag32.xml"/><Relationship Id="rId5" Type="http://schemas.openxmlformats.org/officeDocument/2006/relationships/image" Target="../media/image11.jpg"/><Relationship Id="rId4" Type="http://schemas.openxmlformats.org/officeDocument/2006/relationships/image" Target="../media/image10.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0.xml"/><Relationship Id="rId1" Type="http://schemas.openxmlformats.org/officeDocument/2006/relationships/tags" Target="../tags/tag33.xml"/><Relationship Id="rId6" Type="http://schemas.openxmlformats.org/officeDocument/2006/relationships/image" Target="../media/image12.png"/><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0.xml"/><Relationship Id="rId1" Type="http://schemas.openxmlformats.org/officeDocument/2006/relationships/tags" Target="../tags/tag34.xml"/><Relationship Id="rId5" Type="http://schemas.openxmlformats.org/officeDocument/2006/relationships/image" Target="../media/image12.png"/><Relationship Id="rId4" Type="http://schemas.openxmlformats.org/officeDocument/2006/relationships/image" Target="../media/image10.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0.xml"/><Relationship Id="rId1" Type="http://schemas.openxmlformats.org/officeDocument/2006/relationships/tags" Target="../tags/tag3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0.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0.xml"/><Relationship Id="rId1" Type="http://schemas.openxmlformats.org/officeDocument/2006/relationships/tags" Target="../tags/tag36.xml"/><Relationship Id="rId5" Type="http://schemas.openxmlformats.org/officeDocument/2006/relationships/image" Target="../media/image15.jpg"/><Relationship Id="rId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97A94BB-7E10-01EF-5E06-0CD82CC46464}"/>
              </a:ext>
            </a:extLst>
          </p:cNvPr>
          <p:cNvGraphicFramePr>
            <a:graphicFrameLocks noChangeAspect="1"/>
          </p:cNvGraphicFramePr>
          <p:nvPr>
            <p:custDataLst>
              <p:tags r:id="rId1"/>
            </p:custDataLst>
            <p:extLst>
              <p:ext uri="{D42A27DB-BD31-4B8C-83A1-F6EECF244321}">
                <p14:modId xmlns:p14="http://schemas.microsoft.com/office/powerpoint/2010/main" val="1362117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Placeholder 4" descr="Colleagues huddle">
            <a:extLst>
              <a:ext uri="{FF2B5EF4-FFF2-40B4-BE49-F238E27FC236}">
                <a16:creationId xmlns:a16="http://schemas.microsoft.com/office/drawing/2014/main" id="{3249D566-CEFF-4882-E1DD-1AC3D3A24AF0}"/>
              </a:ext>
            </a:extLst>
          </p:cNvPr>
          <p:cNvPicPr>
            <a:picLocks noGrp="1" noChangeAspect="1"/>
          </p:cNvPicPr>
          <p:nvPr>
            <p:ph type="pic" sz="quarter" idx="11"/>
          </p:nvPr>
        </p:nvPicPr>
        <p:blipFill>
          <a:blip r:embed="rId5">
            <a:alphaModFix amt="35000"/>
          </a:blip>
          <a:srcRect l="28750" r="28750"/>
          <a:stretch>
            <a:fillRect/>
          </a:stretch>
        </p:blipFill>
        <p:spPr/>
      </p:pic>
      <p:sp>
        <p:nvSpPr>
          <p:cNvPr id="3" name="Title 2">
            <a:extLst>
              <a:ext uri="{FF2B5EF4-FFF2-40B4-BE49-F238E27FC236}">
                <a16:creationId xmlns:a16="http://schemas.microsoft.com/office/drawing/2014/main" id="{BB342441-7BEC-2179-639C-F459CC398985}"/>
              </a:ext>
            </a:extLst>
          </p:cNvPr>
          <p:cNvSpPr>
            <a:spLocks noGrp="1"/>
          </p:cNvSpPr>
          <p:nvPr>
            <p:ph type="title"/>
          </p:nvPr>
        </p:nvSpPr>
        <p:spPr/>
        <p:txBody>
          <a:bodyPr vert="horz"/>
          <a:lstStyle/>
          <a:p>
            <a:r>
              <a:rPr lang="en-US" dirty="0"/>
              <a:t>B</a:t>
            </a:r>
            <a:r>
              <a:rPr lang="en-US" altLang="zh-CN" dirty="0"/>
              <a:t>abson China Club</a:t>
            </a:r>
            <a:br>
              <a:rPr lang="en-US" altLang="zh-CN" dirty="0"/>
            </a:br>
            <a:r>
              <a:rPr lang="zh-CN" altLang="en-US" dirty="0"/>
              <a:t>微信小程序设计初稿</a:t>
            </a:r>
            <a:br>
              <a:rPr lang="en-US" altLang="zh-CN" dirty="0"/>
            </a:br>
            <a:br>
              <a:rPr lang="en-US" altLang="zh-CN" dirty="0"/>
            </a:br>
            <a:r>
              <a:rPr lang="en-US" altLang="zh-CN" sz="1800" dirty="0"/>
              <a:t>July 23</a:t>
            </a:r>
            <a:r>
              <a:rPr lang="en-US" altLang="zh-CN" sz="1800" baseline="30000" dirty="0"/>
              <a:t>rd</a:t>
            </a:r>
            <a:r>
              <a:rPr lang="en-US" altLang="zh-CN" sz="1800" dirty="0"/>
              <a:t>, 2024</a:t>
            </a:r>
            <a:endParaRPr lang="en-US" dirty="0"/>
          </a:p>
        </p:txBody>
      </p:sp>
    </p:spTree>
    <p:extLst>
      <p:ext uri="{BB962C8B-B14F-4D97-AF65-F5344CB8AC3E}">
        <p14:creationId xmlns:p14="http://schemas.microsoft.com/office/powerpoint/2010/main" val="120947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5B6E436-0BFF-337B-736A-3A9933781731}"/>
              </a:ext>
            </a:extLst>
          </p:cNvPr>
          <p:cNvGraphicFramePr>
            <a:graphicFrameLocks noChangeAspect="1"/>
          </p:cNvGraphicFramePr>
          <p:nvPr>
            <p:custDataLst>
              <p:tags r:id="rId1"/>
            </p:custDataLst>
            <p:extLst>
              <p:ext uri="{D42A27DB-BD31-4B8C-83A1-F6EECF244321}">
                <p14:modId xmlns:p14="http://schemas.microsoft.com/office/powerpoint/2010/main" val="343661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zh-CN" altLang="en-US" dirty="0"/>
              <a:t>我的界面</a:t>
            </a:r>
            <a:r>
              <a:rPr lang="en-US" altLang="zh-CN" dirty="0"/>
              <a:t>—</a:t>
            </a:r>
            <a:r>
              <a:rPr lang="zh-CN" altLang="en-US" dirty="0"/>
              <a:t>申领前</a:t>
            </a:r>
            <a:endParaRPr lang="en-US" dirty="0"/>
          </a:p>
        </p:txBody>
      </p:sp>
      <p:sp>
        <p:nvSpPr>
          <p:cNvPr id="7" name="Rectangle 6">
            <a:extLst>
              <a:ext uri="{FF2B5EF4-FFF2-40B4-BE49-F238E27FC236}">
                <a16:creationId xmlns:a16="http://schemas.microsoft.com/office/drawing/2014/main" id="{B4A0CEB4-1AB0-87DE-C62C-C3676B980F37}"/>
              </a:ext>
            </a:extLst>
          </p:cNvPr>
          <p:cNvSpPr/>
          <p:nvPr/>
        </p:nvSpPr>
        <p:spPr>
          <a:xfrm>
            <a:off x="630000" y="1406013"/>
            <a:ext cx="5013716" cy="540774"/>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rgbClr val="FFFFFF"/>
                </a:solidFill>
              </a:rPr>
              <a:t>个人中心</a:t>
            </a:r>
            <a:endParaRPr lang="en-US" sz="1200" dirty="0">
              <a:solidFill>
                <a:srgbClr val="FFFFFF"/>
              </a:solidFill>
            </a:endParaRPr>
          </a:p>
        </p:txBody>
      </p:sp>
      <p:pic>
        <p:nvPicPr>
          <p:cNvPr id="9" name="Picture 8">
            <a:extLst>
              <a:ext uri="{FF2B5EF4-FFF2-40B4-BE49-F238E27FC236}">
                <a16:creationId xmlns:a16="http://schemas.microsoft.com/office/drawing/2014/main" id="{EFF4279E-67AA-F956-D2D5-B9ED81DE695D}"/>
              </a:ext>
            </a:extLst>
          </p:cNvPr>
          <p:cNvPicPr>
            <a:picLocks noChangeAspect="1"/>
          </p:cNvPicPr>
          <p:nvPr/>
        </p:nvPicPr>
        <p:blipFill>
          <a:blip r:embed="rId6"/>
          <a:stretch>
            <a:fillRect/>
          </a:stretch>
        </p:blipFill>
        <p:spPr>
          <a:xfrm>
            <a:off x="630000" y="1941452"/>
            <a:ext cx="5013716" cy="962229"/>
          </a:xfrm>
          <a:prstGeom prst="rect">
            <a:avLst/>
          </a:prstGeom>
        </p:spPr>
      </p:pic>
      <p:sp>
        <p:nvSpPr>
          <p:cNvPr id="10" name="Rectangle: Rounded Corners 9">
            <a:extLst>
              <a:ext uri="{FF2B5EF4-FFF2-40B4-BE49-F238E27FC236}">
                <a16:creationId xmlns:a16="http://schemas.microsoft.com/office/drawing/2014/main" id="{E65EA8C3-B1A0-4CE2-9858-781920839FCC}"/>
              </a:ext>
            </a:extLst>
          </p:cNvPr>
          <p:cNvSpPr/>
          <p:nvPr/>
        </p:nvSpPr>
        <p:spPr>
          <a:xfrm>
            <a:off x="1052052" y="2989007"/>
            <a:ext cx="4129548" cy="1592826"/>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zh-CN" altLang="en-US" sz="1200" dirty="0">
                <a:solidFill>
                  <a:srgbClr val="FFFFFF"/>
                </a:solidFill>
              </a:rPr>
              <a:t>百森俱乐部校友卡</a:t>
            </a:r>
            <a:endParaRPr lang="en-US" sz="1200" dirty="0">
              <a:solidFill>
                <a:srgbClr val="FFFFFF"/>
              </a:solidFill>
            </a:endParaRPr>
          </a:p>
          <a:p>
            <a:pPr algn="ctr"/>
            <a:r>
              <a:rPr lang="en-US" sz="1200" dirty="0">
                <a:solidFill>
                  <a:srgbClr val="FFFFFF"/>
                </a:solidFill>
              </a:rPr>
              <a:t>B</a:t>
            </a:r>
            <a:r>
              <a:rPr lang="en-US" altLang="zh-CN" sz="1200" dirty="0">
                <a:solidFill>
                  <a:srgbClr val="FFFFFF"/>
                </a:solidFill>
              </a:rPr>
              <a:t>abson China Club</a:t>
            </a:r>
            <a:endParaRPr lang="en-US" sz="1200" dirty="0">
              <a:solidFill>
                <a:srgbClr val="FFFFFF"/>
              </a:solidFill>
            </a:endParaRPr>
          </a:p>
        </p:txBody>
      </p:sp>
      <p:sp>
        <p:nvSpPr>
          <p:cNvPr id="11" name="Rectangle 10">
            <a:extLst>
              <a:ext uri="{FF2B5EF4-FFF2-40B4-BE49-F238E27FC236}">
                <a16:creationId xmlns:a16="http://schemas.microsoft.com/office/drawing/2014/main" id="{2A3CB568-8E13-A392-7512-622989AA516A}"/>
              </a:ext>
            </a:extLst>
          </p:cNvPr>
          <p:cNvSpPr/>
          <p:nvPr/>
        </p:nvSpPr>
        <p:spPr>
          <a:xfrm>
            <a:off x="2620297" y="4100052"/>
            <a:ext cx="993058" cy="265471"/>
          </a:xfrm>
          <a:prstGeom prst="rect">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rgbClr val="FFFFFF"/>
                </a:solidFill>
              </a:rPr>
              <a:t>立即领取</a:t>
            </a:r>
            <a:endParaRPr lang="en-US" sz="1200" dirty="0">
              <a:solidFill>
                <a:srgbClr val="FFFFFF"/>
              </a:solidFill>
            </a:endParaRPr>
          </a:p>
        </p:txBody>
      </p:sp>
      <p:sp>
        <p:nvSpPr>
          <p:cNvPr id="12" name="Rectangle 11">
            <a:extLst>
              <a:ext uri="{FF2B5EF4-FFF2-40B4-BE49-F238E27FC236}">
                <a16:creationId xmlns:a16="http://schemas.microsoft.com/office/drawing/2014/main" id="{8022AA1F-0786-413B-69AA-7A1EEF5B5FE4}"/>
              </a:ext>
            </a:extLst>
          </p:cNvPr>
          <p:cNvSpPr/>
          <p:nvPr/>
        </p:nvSpPr>
        <p:spPr>
          <a:xfrm>
            <a:off x="630000" y="1406013"/>
            <a:ext cx="5013716" cy="4493345"/>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 name="TextBox 12">
            <a:extLst>
              <a:ext uri="{FF2B5EF4-FFF2-40B4-BE49-F238E27FC236}">
                <a16:creationId xmlns:a16="http://schemas.microsoft.com/office/drawing/2014/main" id="{BB092972-F446-A8F6-85F1-51A77D4D75B8}"/>
              </a:ext>
            </a:extLst>
          </p:cNvPr>
          <p:cNvSpPr txBox="1"/>
          <p:nvPr/>
        </p:nvSpPr>
        <p:spPr>
          <a:xfrm>
            <a:off x="1052052" y="5132441"/>
            <a:ext cx="4129548" cy="7669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CN" altLang="en-US" sz="1200" dirty="0">
                <a:solidFill>
                  <a:srgbClr val="575757"/>
                </a:solidFill>
              </a:rPr>
              <a:t>校友会联系方式：</a:t>
            </a:r>
            <a:endParaRPr lang="en-US" altLang="zh-CN" sz="1200" dirty="0">
              <a:solidFill>
                <a:srgbClr val="575757"/>
              </a:solidFill>
            </a:endParaRPr>
          </a:p>
          <a:p>
            <a:r>
              <a:rPr lang="en-US" sz="1200" dirty="0" err="1">
                <a:solidFill>
                  <a:srgbClr val="575757"/>
                </a:solidFill>
              </a:rPr>
              <a:t>xxxxxxxxxxxxxxxx</a:t>
            </a:r>
            <a:r>
              <a:rPr lang="en-US" altLang="zh-CN" sz="1200" dirty="0" err="1">
                <a:solidFill>
                  <a:srgbClr val="575757"/>
                </a:solidFill>
              </a:rPr>
              <a:t>xxxxxxxxxxxxxx</a:t>
            </a:r>
            <a:r>
              <a:rPr lang="en-US" sz="1200" dirty="0" err="1">
                <a:solidFill>
                  <a:srgbClr val="575757"/>
                </a:solidFill>
              </a:rPr>
              <a:t>x</a:t>
            </a:r>
            <a:endParaRPr lang="en-US" sz="1200" dirty="0">
              <a:solidFill>
                <a:srgbClr val="575757"/>
              </a:solidFill>
            </a:endParaRPr>
          </a:p>
        </p:txBody>
      </p:sp>
      <p:sp>
        <p:nvSpPr>
          <p:cNvPr id="14" name="Rectangle 13">
            <a:extLst>
              <a:ext uri="{FF2B5EF4-FFF2-40B4-BE49-F238E27FC236}">
                <a16:creationId xmlns:a16="http://schemas.microsoft.com/office/drawing/2014/main" id="{3D79C1C6-9244-4C7E-1225-8C874FE830DD}"/>
              </a:ext>
            </a:extLst>
          </p:cNvPr>
          <p:cNvSpPr/>
          <p:nvPr/>
        </p:nvSpPr>
        <p:spPr>
          <a:xfrm>
            <a:off x="630000" y="5909190"/>
            <a:ext cx="5013716" cy="796413"/>
          </a:xfrm>
          <a:prstGeom prst="rect">
            <a:avLst/>
          </a:prstGeom>
          <a:solidFill>
            <a:srgbClr val="F2F2F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5" name="bcgBugsWhite_House">
            <a:extLst>
              <a:ext uri="{FF2B5EF4-FFF2-40B4-BE49-F238E27FC236}">
                <a16:creationId xmlns:a16="http://schemas.microsoft.com/office/drawing/2014/main" id="{BAD34CA7-7EDB-4E3A-D67E-CDC019EAF7D4}"/>
              </a:ext>
            </a:extLst>
          </p:cNvPr>
          <p:cNvGrpSpPr>
            <a:grpSpLocks noChangeAspect="1"/>
          </p:cNvGrpSpPr>
          <p:nvPr/>
        </p:nvGrpSpPr>
        <p:grpSpPr bwMode="auto">
          <a:xfrm>
            <a:off x="1258530" y="6026759"/>
            <a:ext cx="407639" cy="408038"/>
            <a:chOff x="2818" y="1137"/>
            <a:chExt cx="2044" cy="2046"/>
          </a:xfrm>
        </p:grpSpPr>
        <p:sp>
          <p:nvSpPr>
            <p:cNvPr id="16" name="AutoShape 3">
              <a:extLst>
                <a:ext uri="{FF2B5EF4-FFF2-40B4-BE49-F238E27FC236}">
                  <a16:creationId xmlns:a16="http://schemas.microsoft.com/office/drawing/2014/main" id="{1BB6A7F6-647D-5969-0B1E-CB38CB3593A5}"/>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9">
              <a:extLst>
                <a:ext uri="{FF2B5EF4-FFF2-40B4-BE49-F238E27FC236}">
                  <a16:creationId xmlns:a16="http://schemas.microsoft.com/office/drawing/2014/main" id="{157EDB1D-7FF6-EB7C-F10E-8A1477D96070}"/>
                </a:ext>
              </a:extLst>
            </p:cNvPr>
            <p:cNvSpPr>
              <a:spLocks noEditPoints="1"/>
            </p:cNvSpPr>
            <p:nvPr/>
          </p:nvSpPr>
          <p:spPr bwMode="auto">
            <a:xfrm>
              <a:off x="2978" y="1258"/>
              <a:ext cx="1726" cy="1804"/>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 name="TextBox 17">
            <a:extLst>
              <a:ext uri="{FF2B5EF4-FFF2-40B4-BE49-F238E27FC236}">
                <a16:creationId xmlns:a16="http://schemas.microsoft.com/office/drawing/2014/main" id="{E1A42E83-818A-CB71-8682-A991DA9F28A8}"/>
              </a:ext>
            </a:extLst>
          </p:cNvPr>
          <p:cNvSpPr txBox="1"/>
          <p:nvPr/>
        </p:nvSpPr>
        <p:spPr>
          <a:xfrm>
            <a:off x="1052052" y="6434797"/>
            <a:ext cx="808480" cy="2708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chemeClr val="bg1">
                    <a:lumMod val="65000"/>
                  </a:schemeClr>
                </a:solidFill>
              </a:rPr>
              <a:t>首页</a:t>
            </a:r>
            <a:endParaRPr lang="en-US" sz="1200" dirty="0" err="1">
              <a:solidFill>
                <a:schemeClr val="bg1">
                  <a:lumMod val="65000"/>
                </a:schemeClr>
              </a:solidFill>
            </a:endParaRPr>
          </a:p>
        </p:txBody>
      </p:sp>
      <p:sp>
        <p:nvSpPr>
          <p:cNvPr id="20" name="TextBox 19">
            <a:extLst>
              <a:ext uri="{FF2B5EF4-FFF2-40B4-BE49-F238E27FC236}">
                <a16:creationId xmlns:a16="http://schemas.microsoft.com/office/drawing/2014/main" id="{FCAE1D2A-884D-2EEB-E643-4A2D6564CCBC}"/>
              </a:ext>
            </a:extLst>
          </p:cNvPr>
          <p:cNvSpPr txBox="1"/>
          <p:nvPr/>
        </p:nvSpPr>
        <p:spPr>
          <a:xfrm>
            <a:off x="2712586" y="6434797"/>
            <a:ext cx="808480" cy="2708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chemeClr val="bg1">
                    <a:lumMod val="65000"/>
                  </a:schemeClr>
                </a:solidFill>
              </a:rPr>
              <a:t>组织</a:t>
            </a:r>
            <a:endParaRPr lang="en-US" sz="1200" dirty="0" err="1">
              <a:solidFill>
                <a:schemeClr val="bg1">
                  <a:lumMod val="65000"/>
                </a:schemeClr>
              </a:solidFill>
            </a:endParaRPr>
          </a:p>
        </p:txBody>
      </p:sp>
      <p:sp>
        <p:nvSpPr>
          <p:cNvPr id="21" name="TextBox 20">
            <a:extLst>
              <a:ext uri="{FF2B5EF4-FFF2-40B4-BE49-F238E27FC236}">
                <a16:creationId xmlns:a16="http://schemas.microsoft.com/office/drawing/2014/main" id="{5F61C509-33DD-916D-15C8-E95E337742F1}"/>
              </a:ext>
            </a:extLst>
          </p:cNvPr>
          <p:cNvSpPr txBox="1"/>
          <p:nvPr/>
        </p:nvSpPr>
        <p:spPr>
          <a:xfrm>
            <a:off x="4373120" y="6434797"/>
            <a:ext cx="808480" cy="2708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rgbClr val="29BA74"/>
                </a:solidFill>
              </a:rPr>
              <a:t>我的</a:t>
            </a:r>
            <a:endParaRPr lang="en-US" sz="1200" dirty="0" err="1">
              <a:solidFill>
                <a:srgbClr val="29BA74"/>
              </a:solidFill>
            </a:endParaRPr>
          </a:p>
        </p:txBody>
      </p:sp>
      <p:grpSp>
        <p:nvGrpSpPr>
          <p:cNvPr id="22" name="bcgBugs_Gender-neutral Front ">
            <a:extLst>
              <a:ext uri="{FF2B5EF4-FFF2-40B4-BE49-F238E27FC236}">
                <a16:creationId xmlns:a16="http://schemas.microsoft.com/office/drawing/2014/main" id="{6E372109-93AC-358A-5C74-0941BB744F63}"/>
              </a:ext>
            </a:extLst>
          </p:cNvPr>
          <p:cNvGrpSpPr>
            <a:grpSpLocks noChangeAspect="1"/>
          </p:cNvGrpSpPr>
          <p:nvPr/>
        </p:nvGrpSpPr>
        <p:grpSpPr bwMode="auto">
          <a:xfrm>
            <a:off x="4548760" y="6026759"/>
            <a:ext cx="457200" cy="457200"/>
            <a:chOff x="2652" y="972"/>
            <a:chExt cx="2376" cy="2376"/>
          </a:xfrm>
        </p:grpSpPr>
        <p:sp>
          <p:nvSpPr>
            <p:cNvPr id="23" name="AutoShape 3">
              <a:extLst>
                <a:ext uri="{FF2B5EF4-FFF2-40B4-BE49-F238E27FC236}">
                  <a16:creationId xmlns:a16="http://schemas.microsoft.com/office/drawing/2014/main" id="{0EB46A09-03F0-BFC3-C9D3-5AEC835A22E3}"/>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5">
              <a:extLst>
                <a:ext uri="{FF2B5EF4-FFF2-40B4-BE49-F238E27FC236}">
                  <a16:creationId xmlns:a16="http://schemas.microsoft.com/office/drawing/2014/main" id="{1004C2F1-E723-F4CF-4391-0DDB9464FB44}"/>
                </a:ext>
              </a:extLst>
            </p:cNvPr>
            <p:cNvSpPr>
              <a:spLocks noEditPoints="1"/>
            </p:cNvSpPr>
            <p:nvPr/>
          </p:nvSpPr>
          <p:spPr bwMode="auto">
            <a:xfrm>
              <a:off x="2795" y="1181"/>
              <a:ext cx="2093" cy="1960"/>
            </a:xfrm>
            <a:custGeom>
              <a:avLst/>
              <a:gdLst>
                <a:gd name="T0" fmla="*/ 241 w 880"/>
                <a:gd name="T1" fmla="*/ 408 h 824"/>
                <a:gd name="T2" fmla="*/ 311 w 880"/>
                <a:gd name="T3" fmla="*/ 556 h 824"/>
                <a:gd name="T4" fmla="*/ 311 w 880"/>
                <a:gd name="T5" fmla="*/ 604 h 824"/>
                <a:gd name="T6" fmla="*/ 315 w 880"/>
                <a:gd name="T7" fmla="*/ 609 h 824"/>
                <a:gd name="T8" fmla="*/ 333 w 880"/>
                <a:gd name="T9" fmla="*/ 628 h 824"/>
                <a:gd name="T10" fmla="*/ 333 w 880"/>
                <a:gd name="T11" fmla="*/ 575 h 824"/>
                <a:gd name="T12" fmla="*/ 440 w 880"/>
                <a:gd name="T13" fmla="*/ 622 h 824"/>
                <a:gd name="T14" fmla="*/ 547 w 880"/>
                <a:gd name="T15" fmla="*/ 575 h 824"/>
                <a:gd name="T16" fmla="*/ 547 w 880"/>
                <a:gd name="T17" fmla="*/ 628 h 824"/>
                <a:gd name="T18" fmla="*/ 565 w 880"/>
                <a:gd name="T19" fmla="*/ 609 h 824"/>
                <a:gd name="T20" fmla="*/ 569 w 880"/>
                <a:gd name="T21" fmla="*/ 604 h 824"/>
                <a:gd name="T22" fmla="*/ 569 w 880"/>
                <a:gd name="T23" fmla="*/ 556 h 824"/>
                <a:gd name="T24" fmla="*/ 639 w 880"/>
                <a:gd name="T25" fmla="*/ 408 h 824"/>
                <a:gd name="T26" fmla="*/ 673 w 880"/>
                <a:gd name="T27" fmla="*/ 355 h 824"/>
                <a:gd name="T28" fmla="*/ 673 w 880"/>
                <a:gd name="T29" fmla="*/ 353 h 824"/>
                <a:gd name="T30" fmla="*/ 648 w 880"/>
                <a:gd name="T31" fmla="*/ 365 h 824"/>
                <a:gd name="T32" fmla="*/ 625 w 880"/>
                <a:gd name="T33" fmla="*/ 391 h 824"/>
                <a:gd name="T34" fmla="*/ 620 w 880"/>
                <a:gd name="T35" fmla="*/ 397 h 824"/>
                <a:gd name="T36" fmla="*/ 550 w 880"/>
                <a:gd name="T37" fmla="*/ 545 h 824"/>
                <a:gd name="T38" fmla="*/ 440 w 880"/>
                <a:gd name="T39" fmla="*/ 601 h 824"/>
                <a:gd name="T40" fmla="*/ 330 w 880"/>
                <a:gd name="T41" fmla="*/ 545 h 824"/>
                <a:gd name="T42" fmla="*/ 260 w 880"/>
                <a:gd name="T43" fmla="*/ 397 h 824"/>
                <a:gd name="T44" fmla="*/ 255 w 880"/>
                <a:gd name="T45" fmla="*/ 391 h 824"/>
                <a:gd name="T46" fmla="*/ 232 w 880"/>
                <a:gd name="T47" fmla="*/ 365 h 824"/>
                <a:gd name="T48" fmla="*/ 207 w 880"/>
                <a:gd name="T49" fmla="*/ 353 h 824"/>
                <a:gd name="T50" fmla="*/ 207 w 880"/>
                <a:gd name="T51" fmla="*/ 356 h 824"/>
                <a:gd name="T52" fmla="*/ 241 w 880"/>
                <a:gd name="T53" fmla="*/ 408 h 824"/>
                <a:gd name="T54" fmla="*/ 877 w 880"/>
                <a:gd name="T55" fmla="*/ 809 h 824"/>
                <a:gd name="T56" fmla="*/ 771 w 880"/>
                <a:gd name="T57" fmla="*/ 654 h 824"/>
                <a:gd name="T58" fmla="*/ 582 w 880"/>
                <a:gd name="T59" fmla="*/ 622 h 824"/>
                <a:gd name="T60" fmla="*/ 569 w 880"/>
                <a:gd name="T61" fmla="*/ 637 h 824"/>
                <a:gd name="T62" fmla="*/ 567 w 880"/>
                <a:gd name="T63" fmla="*/ 639 h 824"/>
                <a:gd name="T64" fmla="*/ 440 w 880"/>
                <a:gd name="T65" fmla="*/ 690 h 824"/>
                <a:gd name="T66" fmla="*/ 313 w 880"/>
                <a:gd name="T67" fmla="*/ 639 h 824"/>
                <a:gd name="T68" fmla="*/ 311 w 880"/>
                <a:gd name="T69" fmla="*/ 637 h 824"/>
                <a:gd name="T70" fmla="*/ 298 w 880"/>
                <a:gd name="T71" fmla="*/ 622 h 824"/>
                <a:gd name="T72" fmla="*/ 109 w 880"/>
                <a:gd name="T73" fmla="*/ 654 h 824"/>
                <a:gd name="T74" fmla="*/ 3 w 880"/>
                <a:gd name="T75" fmla="*/ 809 h 824"/>
                <a:gd name="T76" fmla="*/ 13 w 880"/>
                <a:gd name="T77" fmla="*/ 824 h 824"/>
                <a:gd name="T78" fmla="*/ 867 w 880"/>
                <a:gd name="T79" fmla="*/ 824 h 824"/>
                <a:gd name="T80" fmla="*/ 877 w 880"/>
                <a:gd name="T81" fmla="*/ 809 h 824"/>
                <a:gd name="T82" fmla="*/ 315 w 880"/>
                <a:gd name="T83" fmla="*/ 200 h 824"/>
                <a:gd name="T84" fmla="*/ 328 w 880"/>
                <a:gd name="T85" fmla="*/ 192 h 824"/>
                <a:gd name="T86" fmla="*/ 350 w 880"/>
                <a:gd name="T87" fmla="*/ 186 h 824"/>
                <a:gd name="T88" fmla="*/ 618 w 880"/>
                <a:gd name="T89" fmla="*/ 354 h 824"/>
                <a:gd name="T90" fmla="*/ 651 w 880"/>
                <a:gd name="T91" fmla="*/ 353 h 824"/>
                <a:gd name="T92" fmla="*/ 656 w 880"/>
                <a:gd name="T93" fmla="*/ 351 h 824"/>
                <a:gd name="T94" fmla="*/ 666 w 880"/>
                <a:gd name="T95" fmla="*/ 347 h 824"/>
                <a:gd name="T96" fmla="*/ 672 w 880"/>
                <a:gd name="T97" fmla="*/ 344 h 824"/>
                <a:gd name="T98" fmla="*/ 688 w 880"/>
                <a:gd name="T99" fmla="*/ 333 h 824"/>
                <a:gd name="T100" fmla="*/ 672 w 880"/>
                <a:gd name="T101" fmla="*/ 282 h 824"/>
                <a:gd name="T102" fmla="*/ 673 w 880"/>
                <a:gd name="T103" fmla="*/ 237 h 824"/>
                <a:gd name="T104" fmla="*/ 442 w 880"/>
                <a:gd name="T105" fmla="*/ 0 h 824"/>
                <a:gd name="T106" fmla="*/ 211 w 880"/>
                <a:gd name="T107" fmla="*/ 237 h 824"/>
                <a:gd name="T108" fmla="*/ 224 w 880"/>
                <a:gd name="T109" fmla="*/ 335 h 824"/>
                <a:gd name="T110" fmla="*/ 315 w 880"/>
                <a:gd name="T111" fmla="*/ 20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0" h="824">
                  <a:moveTo>
                    <a:pt x="241" y="408"/>
                  </a:moveTo>
                  <a:cubicBezTo>
                    <a:pt x="252" y="436"/>
                    <a:pt x="289" y="529"/>
                    <a:pt x="311" y="556"/>
                  </a:cubicBezTo>
                  <a:cubicBezTo>
                    <a:pt x="311" y="604"/>
                    <a:pt x="311" y="604"/>
                    <a:pt x="311" y="604"/>
                  </a:cubicBezTo>
                  <a:cubicBezTo>
                    <a:pt x="315" y="609"/>
                    <a:pt x="315" y="609"/>
                    <a:pt x="315" y="609"/>
                  </a:cubicBezTo>
                  <a:cubicBezTo>
                    <a:pt x="316" y="610"/>
                    <a:pt x="321" y="618"/>
                    <a:pt x="333" y="628"/>
                  </a:cubicBezTo>
                  <a:cubicBezTo>
                    <a:pt x="333" y="575"/>
                    <a:pt x="333" y="575"/>
                    <a:pt x="333" y="575"/>
                  </a:cubicBezTo>
                  <a:cubicBezTo>
                    <a:pt x="361" y="596"/>
                    <a:pt x="408" y="622"/>
                    <a:pt x="440" y="622"/>
                  </a:cubicBezTo>
                  <a:cubicBezTo>
                    <a:pt x="472" y="622"/>
                    <a:pt x="519" y="596"/>
                    <a:pt x="547" y="575"/>
                  </a:cubicBezTo>
                  <a:cubicBezTo>
                    <a:pt x="547" y="628"/>
                    <a:pt x="547" y="628"/>
                    <a:pt x="547" y="628"/>
                  </a:cubicBezTo>
                  <a:cubicBezTo>
                    <a:pt x="559" y="618"/>
                    <a:pt x="564" y="610"/>
                    <a:pt x="565" y="609"/>
                  </a:cubicBezTo>
                  <a:cubicBezTo>
                    <a:pt x="569" y="604"/>
                    <a:pt x="569" y="604"/>
                    <a:pt x="569" y="604"/>
                  </a:cubicBezTo>
                  <a:cubicBezTo>
                    <a:pt x="569" y="556"/>
                    <a:pt x="569" y="556"/>
                    <a:pt x="569" y="556"/>
                  </a:cubicBezTo>
                  <a:cubicBezTo>
                    <a:pt x="591" y="529"/>
                    <a:pt x="628" y="436"/>
                    <a:pt x="639" y="408"/>
                  </a:cubicBezTo>
                  <a:cubicBezTo>
                    <a:pt x="664" y="393"/>
                    <a:pt x="671" y="366"/>
                    <a:pt x="673" y="355"/>
                  </a:cubicBezTo>
                  <a:cubicBezTo>
                    <a:pt x="673" y="353"/>
                    <a:pt x="673" y="353"/>
                    <a:pt x="673" y="353"/>
                  </a:cubicBezTo>
                  <a:cubicBezTo>
                    <a:pt x="648" y="365"/>
                    <a:pt x="648" y="365"/>
                    <a:pt x="648" y="365"/>
                  </a:cubicBezTo>
                  <a:cubicBezTo>
                    <a:pt x="644" y="375"/>
                    <a:pt x="638" y="385"/>
                    <a:pt x="625" y="391"/>
                  </a:cubicBezTo>
                  <a:cubicBezTo>
                    <a:pt x="623" y="392"/>
                    <a:pt x="621" y="394"/>
                    <a:pt x="620" y="397"/>
                  </a:cubicBezTo>
                  <a:cubicBezTo>
                    <a:pt x="600" y="447"/>
                    <a:pt x="564" y="532"/>
                    <a:pt x="550" y="545"/>
                  </a:cubicBezTo>
                  <a:cubicBezTo>
                    <a:pt x="528" y="564"/>
                    <a:pt x="471" y="601"/>
                    <a:pt x="440" y="601"/>
                  </a:cubicBezTo>
                  <a:cubicBezTo>
                    <a:pt x="408" y="601"/>
                    <a:pt x="352" y="564"/>
                    <a:pt x="330" y="545"/>
                  </a:cubicBezTo>
                  <a:cubicBezTo>
                    <a:pt x="316" y="532"/>
                    <a:pt x="280" y="447"/>
                    <a:pt x="260" y="397"/>
                  </a:cubicBezTo>
                  <a:cubicBezTo>
                    <a:pt x="259" y="394"/>
                    <a:pt x="257" y="392"/>
                    <a:pt x="255" y="391"/>
                  </a:cubicBezTo>
                  <a:cubicBezTo>
                    <a:pt x="242" y="385"/>
                    <a:pt x="236" y="374"/>
                    <a:pt x="232" y="365"/>
                  </a:cubicBezTo>
                  <a:cubicBezTo>
                    <a:pt x="207" y="353"/>
                    <a:pt x="207" y="353"/>
                    <a:pt x="207" y="353"/>
                  </a:cubicBezTo>
                  <a:cubicBezTo>
                    <a:pt x="207" y="356"/>
                    <a:pt x="207" y="356"/>
                    <a:pt x="207" y="356"/>
                  </a:cubicBezTo>
                  <a:cubicBezTo>
                    <a:pt x="210" y="369"/>
                    <a:pt x="217" y="394"/>
                    <a:pt x="241" y="408"/>
                  </a:cubicBezTo>
                  <a:close/>
                  <a:moveTo>
                    <a:pt x="877" y="809"/>
                  </a:moveTo>
                  <a:cubicBezTo>
                    <a:pt x="864" y="773"/>
                    <a:pt x="825" y="678"/>
                    <a:pt x="771" y="654"/>
                  </a:cubicBezTo>
                  <a:cubicBezTo>
                    <a:pt x="705" y="623"/>
                    <a:pt x="582" y="622"/>
                    <a:pt x="582" y="622"/>
                  </a:cubicBezTo>
                  <a:cubicBezTo>
                    <a:pt x="582" y="622"/>
                    <a:pt x="578" y="628"/>
                    <a:pt x="569" y="637"/>
                  </a:cubicBezTo>
                  <a:cubicBezTo>
                    <a:pt x="568" y="638"/>
                    <a:pt x="567" y="638"/>
                    <a:pt x="567" y="639"/>
                  </a:cubicBezTo>
                  <a:cubicBezTo>
                    <a:pt x="545" y="659"/>
                    <a:pt x="503" y="689"/>
                    <a:pt x="440" y="690"/>
                  </a:cubicBezTo>
                  <a:cubicBezTo>
                    <a:pt x="377" y="689"/>
                    <a:pt x="335" y="659"/>
                    <a:pt x="313" y="639"/>
                  </a:cubicBezTo>
                  <a:cubicBezTo>
                    <a:pt x="313" y="638"/>
                    <a:pt x="312" y="638"/>
                    <a:pt x="311" y="637"/>
                  </a:cubicBezTo>
                  <a:cubicBezTo>
                    <a:pt x="302" y="628"/>
                    <a:pt x="298" y="622"/>
                    <a:pt x="298" y="622"/>
                  </a:cubicBezTo>
                  <a:cubicBezTo>
                    <a:pt x="298" y="622"/>
                    <a:pt x="175" y="623"/>
                    <a:pt x="109" y="654"/>
                  </a:cubicBezTo>
                  <a:cubicBezTo>
                    <a:pt x="55" y="678"/>
                    <a:pt x="16" y="773"/>
                    <a:pt x="3" y="809"/>
                  </a:cubicBezTo>
                  <a:cubicBezTo>
                    <a:pt x="0" y="816"/>
                    <a:pt x="5" y="824"/>
                    <a:pt x="13" y="824"/>
                  </a:cubicBezTo>
                  <a:cubicBezTo>
                    <a:pt x="867" y="824"/>
                    <a:pt x="867" y="824"/>
                    <a:pt x="867" y="824"/>
                  </a:cubicBezTo>
                  <a:cubicBezTo>
                    <a:pt x="875" y="824"/>
                    <a:pt x="880" y="816"/>
                    <a:pt x="877" y="809"/>
                  </a:cubicBezTo>
                  <a:close/>
                  <a:moveTo>
                    <a:pt x="315" y="200"/>
                  </a:moveTo>
                  <a:cubicBezTo>
                    <a:pt x="318" y="197"/>
                    <a:pt x="323" y="194"/>
                    <a:pt x="328" y="192"/>
                  </a:cubicBezTo>
                  <a:cubicBezTo>
                    <a:pt x="335" y="188"/>
                    <a:pt x="342" y="186"/>
                    <a:pt x="350" y="186"/>
                  </a:cubicBezTo>
                  <a:cubicBezTo>
                    <a:pt x="488" y="194"/>
                    <a:pt x="592" y="340"/>
                    <a:pt x="618" y="354"/>
                  </a:cubicBezTo>
                  <a:cubicBezTo>
                    <a:pt x="627" y="360"/>
                    <a:pt x="639" y="358"/>
                    <a:pt x="651" y="353"/>
                  </a:cubicBezTo>
                  <a:cubicBezTo>
                    <a:pt x="653" y="353"/>
                    <a:pt x="655" y="352"/>
                    <a:pt x="656" y="351"/>
                  </a:cubicBezTo>
                  <a:cubicBezTo>
                    <a:pt x="666" y="347"/>
                    <a:pt x="666" y="347"/>
                    <a:pt x="666" y="347"/>
                  </a:cubicBezTo>
                  <a:cubicBezTo>
                    <a:pt x="668" y="346"/>
                    <a:pt x="670" y="345"/>
                    <a:pt x="672" y="344"/>
                  </a:cubicBezTo>
                  <a:cubicBezTo>
                    <a:pt x="682" y="338"/>
                    <a:pt x="688" y="333"/>
                    <a:pt x="688" y="333"/>
                  </a:cubicBezTo>
                  <a:cubicBezTo>
                    <a:pt x="675" y="313"/>
                    <a:pt x="671" y="295"/>
                    <a:pt x="672" y="282"/>
                  </a:cubicBezTo>
                  <a:cubicBezTo>
                    <a:pt x="674" y="268"/>
                    <a:pt x="673" y="252"/>
                    <a:pt x="673" y="237"/>
                  </a:cubicBezTo>
                  <a:cubicBezTo>
                    <a:pt x="673" y="106"/>
                    <a:pt x="573" y="0"/>
                    <a:pt x="442" y="0"/>
                  </a:cubicBezTo>
                  <a:cubicBezTo>
                    <a:pt x="312" y="0"/>
                    <a:pt x="211" y="106"/>
                    <a:pt x="211" y="237"/>
                  </a:cubicBezTo>
                  <a:cubicBezTo>
                    <a:pt x="211" y="266"/>
                    <a:pt x="216" y="324"/>
                    <a:pt x="224" y="335"/>
                  </a:cubicBezTo>
                  <a:cubicBezTo>
                    <a:pt x="247" y="356"/>
                    <a:pt x="250" y="244"/>
                    <a:pt x="315" y="2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 name="bcgIconsWhite_Contacts ">
            <a:extLst>
              <a:ext uri="{FF2B5EF4-FFF2-40B4-BE49-F238E27FC236}">
                <a16:creationId xmlns:a16="http://schemas.microsoft.com/office/drawing/2014/main" id="{B8169F91-2B9C-3518-B22E-5B61043F22A3}"/>
              </a:ext>
            </a:extLst>
          </p:cNvPr>
          <p:cNvGrpSpPr>
            <a:grpSpLocks noChangeAspect="1"/>
          </p:cNvGrpSpPr>
          <p:nvPr/>
        </p:nvGrpSpPr>
        <p:grpSpPr>
          <a:xfrm>
            <a:off x="2888006" y="6026759"/>
            <a:ext cx="457641" cy="457200"/>
            <a:chOff x="5273675" y="2606675"/>
            <a:chExt cx="1646238" cy="1644650"/>
          </a:xfrm>
        </p:grpSpPr>
        <p:sp>
          <p:nvSpPr>
            <p:cNvPr id="26" name="AutoShape 3">
              <a:extLst>
                <a:ext uri="{FF2B5EF4-FFF2-40B4-BE49-F238E27FC236}">
                  <a16:creationId xmlns:a16="http://schemas.microsoft.com/office/drawing/2014/main" id="{B1C529B3-4CDA-E846-03F8-ACA5C53CD073}"/>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7">
              <a:extLst>
                <a:ext uri="{FF2B5EF4-FFF2-40B4-BE49-F238E27FC236}">
                  <a16:creationId xmlns:a16="http://schemas.microsoft.com/office/drawing/2014/main" id="{CFA01DA5-B880-0DB6-55B2-B0ED342DD99E}"/>
                </a:ext>
              </a:extLst>
            </p:cNvPr>
            <p:cNvSpPr>
              <a:spLocks/>
            </p:cNvSpPr>
            <p:nvPr/>
          </p:nvSpPr>
          <p:spPr bwMode="auto">
            <a:xfrm>
              <a:off x="5578475" y="2889250"/>
              <a:ext cx="968375" cy="1192213"/>
            </a:xfrm>
            <a:custGeom>
              <a:avLst/>
              <a:gdLst>
                <a:gd name="connsiteX0" fmla="*/ 7161 w 968375"/>
                <a:gd name="connsiteY0" fmla="*/ 931863 h 1192213"/>
                <a:gd name="connsiteX1" fmla="*/ 69458 w 968375"/>
                <a:gd name="connsiteY1" fmla="*/ 931863 h 1192213"/>
                <a:gd name="connsiteX2" fmla="*/ 84496 w 968375"/>
                <a:gd name="connsiteY2" fmla="*/ 931863 h 1192213"/>
                <a:gd name="connsiteX3" fmla="*/ 100249 w 968375"/>
                <a:gd name="connsiteY3" fmla="*/ 931863 h 1192213"/>
                <a:gd name="connsiteX4" fmla="*/ 100965 w 968375"/>
                <a:gd name="connsiteY4" fmla="*/ 931863 h 1192213"/>
                <a:gd name="connsiteX5" fmla="*/ 116003 w 968375"/>
                <a:gd name="connsiteY5" fmla="*/ 931863 h 1192213"/>
                <a:gd name="connsiteX6" fmla="*/ 132472 w 968375"/>
                <a:gd name="connsiteY6" fmla="*/ 931863 h 1192213"/>
                <a:gd name="connsiteX7" fmla="*/ 161115 w 968375"/>
                <a:gd name="connsiteY7" fmla="*/ 931863 h 1192213"/>
                <a:gd name="connsiteX8" fmla="*/ 168275 w 968375"/>
                <a:gd name="connsiteY8" fmla="*/ 939022 h 1192213"/>
                <a:gd name="connsiteX9" fmla="*/ 168275 w 968375"/>
                <a:gd name="connsiteY9" fmla="*/ 1034242 h 1192213"/>
                <a:gd name="connsiteX10" fmla="*/ 161115 w 968375"/>
                <a:gd name="connsiteY10" fmla="*/ 1041401 h 1192213"/>
                <a:gd name="connsiteX11" fmla="*/ 132472 w 968375"/>
                <a:gd name="connsiteY11" fmla="*/ 1041401 h 1192213"/>
                <a:gd name="connsiteX12" fmla="*/ 116003 w 968375"/>
                <a:gd name="connsiteY12" fmla="*/ 1041401 h 1192213"/>
                <a:gd name="connsiteX13" fmla="*/ 100965 w 968375"/>
                <a:gd name="connsiteY13" fmla="*/ 1041401 h 1192213"/>
                <a:gd name="connsiteX14" fmla="*/ 100249 w 968375"/>
                <a:gd name="connsiteY14" fmla="*/ 1041401 h 1192213"/>
                <a:gd name="connsiteX15" fmla="*/ 84496 w 968375"/>
                <a:gd name="connsiteY15" fmla="*/ 1041401 h 1192213"/>
                <a:gd name="connsiteX16" fmla="*/ 69458 w 968375"/>
                <a:gd name="connsiteY16" fmla="*/ 1041401 h 1192213"/>
                <a:gd name="connsiteX17" fmla="*/ 7161 w 968375"/>
                <a:gd name="connsiteY17" fmla="*/ 1041401 h 1192213"/>
                <a:gd name="connsiteX18" fmla="*/ 0 w 968375"/>
                <a:gd name="connsiteY18" fmla="*/ 1034242 h 1192213"/>
                <a:gd name="connsiteX19" fmla="*/ 0 w 968375"/>
                <a:gd name="connsiteY19" fmla="*/ 939022 h 1192213"/>
                <a:gd name="connsiteX20" fmla="*/ 7161 w 968375"/>
                <a:gd name="connsiteY20" fmla="*/ 931863 h 1192213"/>
                <a:gd name="connsiteX21" fmla="*/ 69850 w 968375"/>
                <a:gd name="connsiteY21" fmla="*/ 811213 h 1192213"/>
                <a:gd name="connsiteX22" fmla="*/ 84138 w 968375"/>
                <a:gd name="connsiteY22" fmla="*/ 811213 h 1192213"/>
                <a:gd name="connsiteX23" fmla="*/ 100013 w 968375"/>
                <a:gd name="connsiteY23" fmla="*/ 811213 h 1192213"/>
                <a:gd name="connsiteX24" fmla="*/ 101600 w 968375"/>
                <a:gd name="connsiteY24" fmla="*/ 811213 h 1192213"/>
                <a:gd name="connsiteX25" fmla="*/ 101600 w 968375"/>
                <a:gd name="connsiteY25" fmla="*/ 900113 h 1192213"/>
                <a:gd name="connsiteX26" fmla="*/ 100013 w 968375"/>
                <a:gd name="connsiteY26" fmla="*/ 900113 h 1192213"/>
                <a:gd name="connsiteX27" fmla="*/ 84138 w 968375"/>
                <a:gd name="connsiteY27" fmla="*/ 900113 h 1192213"/>
                <a:gd name="connsiteX28" fmla="*/ 69850 w 968375"/>
                <a:gd name="connsiteY28" fmla="*/ 900113 h 1192213"/>
                <a:gd name="connsiteX29" fmla="*/ 7161 w 968375"/>
                <a:gd name="connsiteY29" fmla="*/ 671513 h 1192213"/>
                <a:gd name="connsiteX30" fmla="*/ 69458 w 968375"/>
                <a:gd name="connsiteY30" fmla="*/ 671513 h 1192213"/>
                <a:gd name="connsiteX31" fmla="*/ 84496 w 968375"/>
                <a:gd name="connsiteY31" fmla="*/ 671513 h 1192213"/>
                <a:gd name="connsiteX32" fmla="*/ 100249 w 968375"/>
                <a:gd name="connsiteY32" fmla="*/ 671513 h 1192213"/>
                <a:gd name="connsiteX33" fmla="*/ 100965 w 968375"/>
                <a:gd name="connsiteY33" fmla="*/ 671513 h 1192213"/>
                <a:gd name="connsiteX34" fmla="*/ 116003 w 968375"/>
                <a:gd name="connsiteY34" fmla="*/ 671513 h 1192213"/>
                <a:gd name="connsiteX35" fmla="*/ 132472 w 968375"/>
                <a:gd name="connsiteY35" fmla="*/ 671513 h 1192213"/>
                <a:gd name="connsiteX36" fmla="*/ 161115 w 968375"/>
                <a:gd name="connsiteY36" fmla="*/ 671513 h 1192213"/>
                <a:gd name="connsiteX37" fmla="*/ 168275 w 968375"/>
                <a:gd name="connsiteY37" fmla="*/ 678672 h 1192213"/>
                <a:gd name="connsiteX38" fmla="*/ 168275 w 968375"/>
                <a:gd name="connsiteY38" fmla="*/ 773892 h 1192213"/>
                <a:gd name="connsiteX39" fmla="*/ 161115 w 968375"/>
                <a:gd name="connsiteY39" fmla="*/ 781051 h 1192213"/>
                <a:gd name="connsiteX40" fmla="*/ 132472 w 968375"/>
                <a:gd name="connsiteY40" fmla="*/ 781051 h 1192213"/>
                <a:gd name="connsiteX41" fmla="*/ 116003 w 968375"/>
                <a:gd name="connsiteY41" fmla="*/ 781051 h 1192213"/>
                <a:gd name="connsiteX42" fmla="*/ 100965 w 968375"/>
                <a:gd name="connsiteY42" fmla="*/ 781051 h 1192213"/>
                <a:gd name="connsiteX43" fmla="*/ 100249 w 968375"/>
                <a:gd name="connsiteY43" fmla="*/ 781051 h 1192213"/>
                <a:gd name="connsiteX44" fmla="*/ 84496 w 968375"/>
                <a:gd name="connsiteY44" fmla="*/ 781051 h 1192213"/>
                <a:gd name="connsiteX45" fmla="*/ 69458 w 968375"/>
                <a:gd name="connsiteY45" fmla="*/ 781051 h 1192213"/>
                <a:gd name="connsiteX46" fmla="*/ 7161 w 968375"/>
                <a:gd name="connsiteY46" fmla="*/ 781051 h 1192213"/>
                <a:gd name="connsiteX47" fmla="*/ 0 w 968375"/>
                <a:gd name="connsiteY47" fmla="*/ 773892 h 1192213"/>
                <a:gd name="connsiteX48" fmla="*/ 0 w 968375"/>
                <a:gd name="connsiteY48" fmla="*/ 678672 h 1192213"/>
                <a:gd name="connsiteX49" fmla="*/ 7161 w 968375"/>
                <a:gd name="connsiteY49" fmla="*/ 671513 h 1192213"/>
                <a:gd name="connsiteX50" fmla="*/ 69850 w 968375"/>
                <a:gd name="connsiteY50" fmla="*/ 550863 h 1192213"/>
                <a:gd name="connsiteX51" fmla="*/ 84138 w 968375"/>
                <a:gd name="connsiteY51" fmla="*/ 550863 h 1192213"/>
                <a:gd name="connsiteX52" fmla="*/ 100013 w 968375"/>
                <a:gd name="connsiteY52" fmla="*/ 550863 h 1192213"/>
                <a:gd name="connsiteX53" fmla="*/ 101600 w 968375"/>
                <a:gd name="connsiteY53" fmla="*/ 550863 h 1192213"/>
                <a:gd name="connsiteX54" fmla="*/ 101600 w 968375"/>
                <a:gd name="connsiteY54" fmla="*/ 639763 h 1192213"/>
                <a:gd name="connsiteX55" fmla="*/ 100013 w 968375"/>
                <a:gd name="connsiteY55" fmla="*/ 639763 h 1192213"/>
                <a:gd name="connsiteX56" fmla="*/ 84138 w 968375"/>
                <a:gd name="connsiteY56" fmla="*/ 639763 h 1192213"/>
                <a:gd name="connsiteX57" fmla="*/ 69850 w 968375"/>
                <a:gd name="connsiteY57" fmla="*/ 639763 h 1192213"/>
                <a:gd name="connsiteX58" fmla="*/ 7161 w 968375"/>
                <a:gd name="connsiteY58" fmla="*/ 411163 h 1192213"/>
                <a:gd name="connsiteX59" fmla="*/ 69458 w 968375"/>
                <a:gd name="connsiteY59" fmla="*/ 411163 h 1192213"/>
                <a:gd name="connsiteX60" fmla="*/ 84496 w 968375"/>
                <a:gd name="connsiteY60" fmla="*/ 411163 h 1192213"/>
                <a:gd name="connsiteX61" fmla="*/ 100249 w 968375"/>
                <a:gd name="connsiteY61" fmla="*/ 411163 h 1192213"/>
                <a:gd name="connsiteX62" fmla="*/ 100965 w 968375"/>
                <a:gd name="connsiteY62" fmla="*/ 411163 h 1192213"/>
                <a:gd name="connsiteX63" fmla="*/ 116003 w 968375"/>
                <a:gd name="connsiteY63" fmla="*/ 411163 h 1192213"/>
                <a:gd name="connsiteX64" fmla="*/ 132472 w 968375"/>
                <a:gd name="connsiteY64" fmla="*/ 411163 h 1192213"/>
                <a:gd name="connsiteX65" fmla="*/ 161115 w 968375"/>
                <a:gd name="connsiteY65" fmla="*/ 411163 h 1192213"/>
                <a:gd name="connsiteX66" fmla="*/ 168275 w 968375"/>
                <a:gd name="connsiteY66" fmla="*/ 418218 h 1192213"/>
                <a:gd name="connsiteX67" fmla="*/ 168275 w 968375"/>
                <a:gd name="connsiteY67" fmla="*/ 512057 h 1192213"/>
                <a:gd name="connsiteX68" fmla="*/ 161115 w 968375"/>
                <a:gd name="connsiteY68" fmla="*/ 519113 h 1192213"/>
                <a:gd name="connsiteX69" fmla="*/ 132472 w 968375"/>
                <a:gd name="connsiteY69" fmla="*/ 519113 h 1192213"/>
                <a:gd name="connsiteX70" fmla="*/ 116003 w 968375"/>
                <a:gd name="connsiteY70" fmla="*/ 519113 h 1192213"/>
                <a:gd name="connsiteX71" fmla="*/ 100965 w 968375"/>
                <a:gd name="connsiteY71" fmla="*/ 519113 h 1192213"/>
                <a:gd name="connsiteX72" fmla="*/ 100249 w 968375"/>
                <a:gd name="connsiteY72" fmla="*/ 519113 h 1192213"/>
                <a:gd name="connsiteX73" fmla="*/ 84496 w 968375"/>
                <a:gd name="connsiteY73" fmla="*/ 519113 h 1192213"/>
                <a:gd name="connsiteX74" fmla="*/ 69458 w 968375"/>
                <a:gd name="connsiteY74" fmla="*/ 519113 h 1192213"/>
                <a:gd name="connsiteX75" fmla="*/ 7161 w 968375"/>
                <a:gd name="connsiteY75" fmla="*/ 519113 h 1192213"/>
                <a:gd name="connsiteX76" fmla="*/ 0 w 968375"/>
                <a:gd name="connsiteY76" fmla="*/ 512057 h 1192213"/>
                <a:gd name="connsiteX77" fmla="*/ 0 w 968375"/>
                <a:gd name="connsiteY77" fmla="*/ 418218 h 1192213"/>
                <a:gd name="connsiteX78" fmla="*/ 7161 w 968375"/>
                <a:gd name="connsiteY78" fmla="*/ 411163 h 1192213"/>
                <a:gd name="connsiteX79" fmla="*/ 599481 w 968375"/>
                <a:gd name="connsiteY79" fmla="*/ 377825 h 1192213"/>
                <a:gd name="connsiteX80" fmla="*/ 439365 w 968375"/>
                <a:gd name="connsiteY80" fmla="*/ 480546 h 1192213"/>
                <a:gd name="connsiteX81" fmla="*/ 496549 w 968375"/>
                <a:gd name="connsiteY81" fmla="*/ 682421 h 1192213"/>
                <a:gd name="connsiteX82" fmla="*/ 496549 w 968375"/>
                <a:gd name="connsiteY82" fmla="*/ 778721 h 1192213"/>
                <a:gd name="connsiteX83" fmla="*/ 502268 w 968375"/>
                <a:gd name="connsiteY83" fmla="*/ 787995 h 1192213"/>
                <a:gd name="connsiteX84" fmla="*/ 654521 w 968375"/>
                <a:gd name="connsiteY84" fmla="*/ 814388 h 1192213"/>
                <a:gd name="connsiteX85" fmla="*/ 663814 w 968375"/>
                <a:gd name="connsiteY85" fmla="*/ 805115 h 1192213"/>
                <a:gd name="connsiteX86" fmla="*/ 663814 w 968375"/>
                <a:gd name="connsiteY86" fmla="*/ 738774 h 1192213"/>
                <a:gd name="connsiteX87" fmla="*/ 741728 w 968375"/>
                <a:gd name="connsiteY87" fmla="*/ 733781 h 1192213"/>
                <a:gd name="connsiteX88" fmla="*/ 754594 w 968375"/>
                <a:gd name="connsiteY88" fmla="*/ 690981 h 1192213"/>
                <a:gd name="connsiteX89" fmla="*/ 755309 w 968375"/>
                <a:gd name="connsiteY89" fmla="*/ 688127 h 1192213"/>
                <a:gd name="connsiteX90" fmla="*/ 752450 w 968375"/>
                <a:gd name="connsiteY90" fmla="*/ 636054 h 1192213"/>
                <a:gd name="connsiteX91" fmla="*/ 791049 w 968375"/>
                <a:gd name="connsiteY91" fmla="*/ 614653 h 1192213"/>
                <a:gd name="connsiteX92" fmla="*/ 773894 w 968375"/>
                <a:gd name="connsiteY92" fmla="*/ 579700 h 1192213"/>
                <a:gd name="connsiteX93" fmla="*/ 770320 w 968375"/>
                <a:gd name="connsiteY93" fmla="*/ 576133 h 1192213"/>
                <a:gd name="connsiteX94" fmla="*/ 754594 w 968375"/>
                <a:gd name="connsiteY94" fmla="*/ 544033 h 1192213"/>
                <a:gd name="connsiteX95" fmla="*/ 750305 w 968375"/>
                <a:gd name="connsiteY95" fmla="*/ 527626 h 1192213"/>
                <a:gd name="connsiteX96" fmla="*/ 743872 w 968375"/>
                <a:gd name="connsiteY96" fmla="*/ 503373 h 1192213"/>
                <a:gd name="connsiteX97" fmla="*/ 738869 w 968375"/>
                <a:gd name="connsiteY97" fmla="*/ 458432 h 1192213"/>
                <a:gd name="connsiteX98" fmla="*/ 743157 w 968375"/>
                <a:gd name="connsiteY98" fmla="*/ 459859 h 1192213"/>
                <a:gd name="connsiteX99" fmla="*/ 744587 w 968375"/>
                <a:gd name="connsiteY99" fmla="*/ 458432 h 1192213"/>
                <a:gd name="connsiteX100" fmla="*/ 771035 w 968375"/>
                <a:gd name="connsiteY100" fmla="*/ 402792 h 1192213"/>
                <a:gd name="connsiteX101" fmla="*/ 599481 w 968375"/>
                <a:gd name="connsiteY101" fmla="*/ 377825 h 1192213"/>
                <a:gd name="connsiteX102" fmla="*/ 69850 w 968375"/>
                <a:gd name="connsiteY102" fmla="*/ 290513 h 1192213"/>
                <a:gd name="connsiteX103" fmla="*/ 84138 w 968375"/>
                <a:gd name="connsiteY103" fmla="*/ 290513 h 1192213"/>
                <a:gd name="connsiteX104" fmla="*/ 100013 w 968375"/>
                <a:gd name="connsiteY104" fmla="*/ 290513 h 1192213"/>
                <a:gd name="connsiteX105" fmla="*/ 101600 w 968375"/>
                <a:gd name="connsiteY105" fmla="*/ 290513 h 1192213"/>
                <a:gd name="connsiteX106" fmla="*/ 101600 w 968375"/>
                <a:gd name="connsiteY106" fmla="*/ 379413 h 1192213"/>
                <a:gd name="connsiteX107" fmla="*/ 100013 w 968375"/>
                <a:gd name="connsiteY107" fmla="*/ 379413 h 1192213"/>
                <a:gd name="connsiteX108" fmla="*/ 84138 w 968375"/>
                <a:gd name="connsiteY108" fmla="*/ 379413 h 1192213"/>
                <a:gd name="connsiteX109" fmla="*/ 69850 w 968375"/>
                <a:gd name="connsiteY109" fmla="*/ 379413 h 1192213"/>
                <a:gd name="connsiteX110" fmla="*/ 7161 w 968375"/>
                <a:gd name="connsiteY110" fmla="*/ 150813 h 1192213"/>
                <a:gd name="connsiteX111" fmla="*/ 69458 w 968375"/>
                <a:gd name="connsiteY111" fmla="*/ 150813 h 1192213"/>
                <a:gd name="connsiteX112" fmla="*/ 84496 w 968375"/>
                <a:gd name="connsiteY112" fmla="*/ 150813 h 1192213"/>
                <a:gd name="connsiteX113" fmla="*/ 100249 w 968375"/>
                <a:gd name="connsiteY113" fmla="*/ 150813 h 1192213"/>
                <a:gd name="connsiteX114" fmla="*/ 100965 w 968375"/>
                <a:gd name="connsiteY114" fmla="*/ 150813 h 1192213"/>
                <a:gd name="connsiteX115" fmla="*/ 116003 w 968375"/>
                <a:gd name="connsiteY115" fmla="*/ 150813 h 1192213"/>
                <a:gd name="connsiteX116" fmla="*/ 132472 w 968375"/>
                <a:gd name="connsiteY116" fmla="*/ 150813 h 1192213"/>
                <a:gd name="connsiteX117" fmla="*/ 161115 w 968375"/>
                <a:gd name="connsiteY117" fmla="*/ 150813 h 1192213"/>
                <a:gd name="connsiteX118" fmla="*/ 168275 w 968375"/>
                <a:gd name="connsiteY118" fmla="*/ 157868 h 1192213"/>
                <a:gd name="connsiteX119" fmla="*/ 168275 w 968375"/>
                <a:gd name="connsiteY119" fmla="*/ 251707 h 1192213"/>
                <a:gd name="connsiteX120" fmla="*/ 161115 w 968375"/>
                <a:gd name="connsiteY120" fmla="*/ 258763 h 1192213"/>
                <a:gd name="connsiteX121" fmla="*/ 132472 w 968375"/>
                <a:gd name="connsiteY121" fmla="*/ 258763 h 1192213"/>
                <a:gd name="connsiteX122" fmla="*/ 116003 w 968375"/>
                <a:gd name="connsiteY122" fmla="*/ 258763 h 1192213"/>
                <a:gd name="connsiteX123" fmla="*/ 100965 w 968375"/>
                <a:gd name="connsiteY123" fmla="*/ 258763 h 1192213"/>
                <a:gd name="connsiteX124" fmla="*/ 100249 w 968375"/>
                <a:gd name="connsiteY124" fmla="*/ 258763 h 1192213"/>
                <a:gd name="connsiteX125" fmla="*/ 84496 w 968375"/>
                <a:gd name="connsiteY125" fmla="*/ 258763 h 1192213"/>
                <a:gd name="connsiteX126" fmla="*/ 69458 w 968375"/>
                <a:gd name="connsiteY126" fmla="*/ 258763 h 1192213"/>
                <a:gd name="connsiteX127" fmla="*/ 7161 w 968375"/>
                <a:gd name="connsiteY127" fmla="*/ 258763 h 1192213"/>
                <a:gd name="connsiteX128" fmla="*/ 0 w 968375"/>
                <a:gd name="connsiteY128" fmla="*/ 251707 h 1192213"/>
                <a:gd name="connsiteX129" fmla="*/ 0 w 968375"/>
                <a:gd name="connsiteY129" fmla="*/ 157868 h 1192213"/>
                <a:gd name="connsiteX130" fmla="*/ 7161 w 968375"/>
                <a:gd name="connsiteY130" fmla="*/ 150813 h 1192213"/>
                <a:gd name="connsiteX131" fmla="*/ 328613 w 968375"/>
                <a:gd name="connsiteY131" fmla="*/ 63500 h 1192213"/>
                <a:gd name="connsiteX132" fmla="*/ 906463 w 968375"/>
                <a:gd name="connsiteY132" fmla="*/ 63500 h 1192213"/>
                <a:gd name="connsiteX133" fmla="*/ 906463 w 968375"/>
                <a:gd name="connsiteY133" fmla="*/ 1128713 h 1192213"/>
                <a:gd name="connsiteX134" fmla="*/ 328613 w 968375"/>
                <a:gd name="connsiteY134" fmla="*/ 1128713 h 1192213"/>
                <a:gd name="connsiteX135" fmla="*/ 133350 w 968375"/>
                <a:gd name="connsiteY135" fmla="*/ 63500 h 1192213"/>
                <a:gd name="connsiteX136" fmla="*/ 296863 w 968375"/>
                <a:gd name="connsiteY136" fmla="*/ 63500 h 1192213"/>
                <a:gd name="connsiteX137" fmla="*/ 296863 w 968375"/>
                <a:gd name="connsiteY137" fmla="*/ 1128713 h 1192213"/>
                <a:gd name="connsiteX138" fmla="*/ 133350 w 968375"/>
                <a:gd name="connsiteY138" fmla="*/ 1128713 h 1192213"/>
                <a:gd name="connsiteX139" fmla="*/ 133350 w 968375"/>
                <a:gd name="connsiteY139" fmla="*/ 1071674 h 1192213"/>
                <a:gd name="connsiteX140" fmla="*/ 161664 w 968375"/>
                <a:gd name="connsiteY140" fmla="*/ 1071674 h 1192213"/>
                <a:gd name="connsiteX141" fmla="*/ 199888 w 968375"/>
                <a:gd name="connsiteY141" fmla="*/ 1033172 h 1192213"/>
                <a:gd name="connsiteX142" fmla="*/ 199888 w 968375"/>
                <a:gd name="connsiteY142" fmla="*/ 938344 h 1192213"/>
                <a:gd name="connsiteX143" fmla="*/ 161664 w 968375"/>
                <a:gd name="connsiteY143" fmla="*/ 899842 h 1192213"/>
                <a:gd name="connsiteX144" fmla="*/ 133350 w 968375"/>
                <a:gd name="connsiteY144" fmla="*/ 899842 h 1192213"/>
                <a:gd name="connsiteX145" fmla="*/ 133350 w 968375"/>
                <a:gd name="connsiteY145" fmla="*/ 811431 h 1192213"/>
                <a:gd name="connsiteX146" fmla="*/ 161664 w 968375"/>
                <a:gd name="connsiteY146" fmla="*/ 811431 h 1192213"/>
                <a:gd name="connsiteX147" fmla="*/ 199888 w 968375"/>
                <a:gd name="connsiteY147" fmla="*/ 772929 h 1192213"/>
                <a:gd name="connsiteX148" fmla="*/ 199888 w 968375"/>
                <a:gd name="connsiteY148" fmla="*/ 678101 h 1192213"/>
                <a:gd name="connsiteX149" fmla="*/ 161664 w 968375"/>
                <a:gd name="connsiteY149" fmla="*/ 639599 h 1192213"/>
                <a:gd name="connsiteX150" fmla="*/ 133350 w 968375"/>
                <a:gd name="connsiteY150" fmla="*/ 639599 h 1192213"/>
                <a:gd name="connsiteX151" fmla="*/ 133350 w 968375"/>
                <a:gd name="connsiteY151" fmla="*/ 551188 h 1192213"/>
                <a:gd name="connsiteX152" fmla="*/ 161664 w 968375"/>
                <a:gd name="connsiteY152" fmla="*/ 551188 h 1192213"/>
                <a:gd name="connsiteX153" fmla="*/ 199888 w 968375"/>
                <a:gd name="connsiteY153" fmla="*/ 512686 h 1192213"/>
                <a:gd name="connsiteX154" fmla="*/ 199888 w 968375"/>
                <a:gd name="connsiteY154" fmla="*/ 417858 h 1192213"/>
                <a:gd name="connsiteX155" fmla="*/ 161664 w 968375"/>
                <a:gd name="connsiteY155" fmla="*/ 379356 h 1192213"/>
                <a:gd name="connsiteX156" fmla="*/ 133350 w 968375"/>
                <a:gd name="connsiteY156" fmla="*/ 379356 h 1192213"/>
                <a:gd name="connsiteX157" fmla="*/ 133350 w 968375"/>
                <a:gd name="connsiteY157" fmla="*/ 290945 h 1192213"/>
                <a:gd name="connsiteX158" fmla="*/ 161664 w 968375"/>
                <a:gd name="connsiteY158" fmla="*/ 290945 h 1192213"/>
                <a:gd name="connsiteX159" fmla="*/ 199888 w 968375"/>
                <a:gd name="connsiteY159" fmla="*/ 252443 h 1192213"/>
                <a:gd name="connsiteX160" fmla="*/ 199888 w 968375"/>
                <a:gd name="connsiteY160" fmla="*/ 157615 h 1192213"/>
                <a:gd name="connsiteX161" fmla="*/ 161664 w 968375"/>
                <a:gd name="connsiteY161" fmla="*/ 119113 h 1192213"/>
                <a:gd name="connsiteX162" fmla="*/ 133350 w 968375"/>
                <a:gd name="connsiteY162" fmla="*/ 119113 h 1192213"/>
                <a:gd name="connsiteX163" fmla="*/ 133350 w 968375"/>
                <a:gd name="connsiteY163" fmla="*/ 63500 h 1192213"/>
                <a:gd name="connsiteX164" fmla="*/ 85564 w 968375"/>
                <a:gd name="connsiteY164" fmla="*/ 0 h 1192213"/>
                <a:gd name="connsiteX165" fmla="*/ 952662 w 968375"/>
                <a:gd name="connsiteY165" fmla="*/ 0 h 1192213"/>
                <a:gd name="connsiteX166" fmla="*/ 968375 w 968375"/>
                <a:gd name="connsiteY166" fmla="*/ 15706 h 1192213"/>
                <a:gd name="connsiteX167" fmla="*/ 968375 w 968375"/>
                <a:gd name="connsiteY167" fmla="*/ 1176507 h 1192213"/>
                <a:gd name="connsiteX168" fmla="*/ 952662 w 968375"/>
                <a:gd name="connsiteY168" fmla="*/ 1192213 h 1192213"/>
                <a:gd name="connsiteX169" fmla="*/ 85564 w 968375"/>
                <a:gd name="connsiteY169" fmla="*/ 1192213 h 1192213"/>
                <a:gd name="connsiteX170" fmla="*/ 69850 w 968375"/>
                <a:gd name="connsiteY170" fmla="*/ 1176507 h 1192213"/>
                <a:gd name="connsiteX171" fmla="*/ 69850 w 968375"/>
                <a:gd name="connsiteY171" fmla="*/ 1072278 h 1192213"/>
                <a:gd name="connsiteX172" fmla="*/ 84849 w 968375"/>
                <a:gd name="connsiteY172" fmla="*/ 1072278 h 1192213"/>
                <a:gd name="connsiteX173" fmla="*/ 100563 w 968375"/>
                <a:gd name="connsiteY173" fmla="*/ 1072278 h 1192213"/>
                <a:gd name="connsiteX174" fmla="*/ 101277 w 968375"/>
                <a:gd name="connsiteY174" fmla="*/ 1072278 h 1192213"/>
                <a:gd name="connsiteX175" fmla="*/ 101277 w 968375"/>
                <a:gd name="connsiteY175" fmla="*/ 1145096 h 1192213"/>
                <a:gd name="connsiteX176" fmla="*/ 101277 w 968375"/>
                <a:gd name="connsiteY176" fmla="*/ 1160802 h 1192213"/>
                <a:gd name="connsiteX177" fmla="*/ 116991 w 968375"/>
                <a:gd name="connsiteY177" fmla="*/ 1160802 h 1192213"/>
                <a:gd name="connsiteX178" fmla="*/ 313409 w 968375"/>
                <a:gd name="connsiteY178" fmla="*/ 1160802 h 1192213"/>
                <a:gd name="connsiteX179" fmla="*/ 329123 w 968375"/>
                <a:gd name="connsiteY179" fmla="*/ 1160802 h 1192213"/>
                <a:gd name="connsiteX180" fmla="*/ 921235 w 968375"/>
                <a:gd name="connsiteY180" fmla="*/ 1160802 h 1192213"/>
                <a:gd name="connsiteX181" fmla="*/ 936948 w 968375"/>
                <a:gd name="connsiteY181" fmla="*/ 1160802 h 1192213"/>
                <a:gd name="connsiteX182" fmla="*/ 936948 w 968375"/>
                <a:gd name="connsiteY182" fmla="*/ 1145096 h 1192213"/>
                <a:gd name="connsiteX183" fmla="*/ 936948 w 968375"/>
                <a:gd name="connsiteY183" fmla="*/ 47117 h 1192213"/>
                <a:gd name="connsiteX184" fmla="*/ 936948 w 968375"/>
                <a:gd name="connsiteY184" fmla="*/ 31411 h 1192213"/>
                <a:gd name="connsiteX185" fmla="*/ 329123 w 968375"/>
                <a:gd name="connsiteY185" fmla="*/ 31411 h 1192213"/>
                <a:gd name="connsiteX186" fmla="*/ 313409 w 968375"/>
                <a:gd name="connsiteY186" fmla="*/ 31411 h 1192213"/>
                <a:gd name="connsiteX187" fmla="*/ 101277 w 968375"/>
                <a:gd name="connsiteY187" fmla="*/ 31411 h 1192213"/>
                <a:gd name="connsiteX188" fmla="*/ 101277 w 968375"/>
                <a:gd name="connsiteY188" fmla="*/ 47117 h 1192213"/>
                <a:gd name="connsiteX189" fmla="*/ 101277 w 968375"/>
                <a:gd name="connsiteY189" fmla="*/ 118507 h 1192213"/>
                <a:gd name="connsiteX190" fmla="*/ 100563 w 968375"/>
                <a:gd name="connsiteY190" fmla="*/ 118507 h 1192213"/>
                <a:gd name="connsiteX191" fmla="*/ 84849 w 968375"/>
                <a:gd name="connsiteY191" fmla="*/ 118507 h 1192213"/>
                <a:gd name="connsiteX192" fmla="*/ 69850 w 968375"/>
                <a:gd name="connsiteY192" fmla="*/ 118507 h 1192213"/>
                <a:gd name="connsiteX193" fmla="*/ 69850 w 968375"/>
                <a:gd name="connsiteY193" fmla="*/ 15706 h 1192213"/>
                <a:gd name="connsiteX194" fmla="*/ 85564 w 968375"/>
                <a:gd name="connsiteY194" fmla="*/ 0 h 119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968375" h="1192213">
                  <a:moveTo>
                    <a:pt x="7161" y="931863"/>
                  </a:moveTo>
                  <a:cubicBezTo>
                    <a:pt x="7161" y="931863"/>
                    <a:pt x="17186" y="931863"/>
                    <a:pt x="69458" y="931863"/>
                  </a:cubicBezTo>
                  <a:cubicBezTo>
                    <a:pt x="73755" y="931863"/>
                    <a:pt x="78767" y="931863"/>
                    <a:pt x="84496" y="931863"/>
                  </a:cubicBezTo>
                  <a:cubicBezTo>
                    <a:pt x="89508" y="931863"/>
                    <a:pt x="94521" y="931863"/>
                    <a:pt x="100249" y="931863"/>
                  </a:cubicBezTo>
                  <a:cubicBezTo>
                    <a:pt x="100249" y="931863"/>
                    <a:pt x="100249" y="931863"/>
                    <a:pt x="100965" y="931863"/>
                  </a:cubicBezTo>
                  <a:cubicBezTo>
                    <a:pt x="105262" y="931863"/>
                    <a:pt x="110274" y="931863"/>
                    <a:pt x="116003" y="931863"/>
                  </a:cubicBezTo>
                  <a:cubicBezTo>
                    <a:pt x="121015" y="931863"/>
                    <a:pt x="126744" y="931863"/>
                    <a:pt x="132472" y="931863"/>
                  </a:cubicBezTo>
                  <a:cubicBezTo>
                    <a:pt x="141065" y="931863"/>
                    <a:pt x="151090" y="931863"/>
                    <a:pt x="161115" y="931863"/>
                  </a:cubicBezTo>
                  <a:cubicBezTo>
                    <a:pt x="165411" y="931863"/>
                    <a:pt x="168275" y="934727"/>
                    <a:pt x="168275" y="939022"/>
                  </a:cubicBezTo>
                  <a:cubicBezTo>
                    <a:pt x="168275" y="939022"/>
                    <a:pt x="168275" y="939022"/>
                    <a:pt x="168275" y="1034242"/>
                  </a:cubicBezTo>
                  <a:cubicBezTo>
                    <a:pt x="168275" y="1038537"/>
                    <a:pt x="165411" y="1041401"/>
                    <a:pt x="161115" y="1041401"/>
                  </a:cubicBezTo>
                  <a:cubicBezTo>
                    <a:pt x="161115" y="1041401"/>
                    <a:pt x="156102" y="1041401"/>
                    <a:pt x="132472" y="1041401"/>
                  </a:cubicBezTo>
                  <a:cubicBezTo>
                    <a:pt x="127460" y="1041401"/>
                    <a:pt x="122447" y="1041401"/>
                    <a:pt x="116003" y="1041401"/>
                  </a:cubicBezTo>
                  <a:cubicBezTo>
                    <a:pt x="110990" y="1041401"/>
                    <a:pt x="105978" y="1041401"/>
                    <a:pt x="100965" y="1041401"/>
                  </a:cubicBezTo>
                  <a:cubicBezTo>
                    <a:pt x="100249" y="1041401"/>
                    <a:pt x="100249" y="1041401"/>
                    <a:pt x="100249" y="1041401"/>
                  </a:cubicBezTo>
                  <a:cubicBezTo>
                    <a:pt x="95237" y="1041401"/>
                    <a:pt x="90224" y="1041401"/>
                    <a:pt x="84496" y="1041401"/>
                  </a:cubicBezTo>
                  <a:cubicBezTo>
                    <a:pt x="79483" y="1041401"/>
                    <a:pt x="74471" y="1041401"/>
                    <a:pt x="69458" y="1041401"/>
                  </a:cubicBezTo>
                  <a:cubicBezTo>
                    <a:pt x="51557" y="1041401"/>
                    <a:pt x="31507" y="1041401"/>
                    <a:pt x="7161" y="1041401"/>
                  </a:cubicBezTo>
                  <a:cubicBezTo>
                    <a:pt x="2865" y="1041401"/>
                    <a:pt x="0" y="1038537"/>
                    <a:pt x="0" y="1034242"/>
                  </a:cubicBezTo>
                  <a:cubicBezTo>
                    <a:pt x="0" y="1034242"/>
                    <a:pt x="0" y="1034242"/>
                    <a:pt x="0" y="939022"/>
                  </a:cubicBezTo>
                  <a:cubicBezTo>
                    <a:pt x="0" y="934727"/>
                    <a:pt x="2865" y="931863"/>
                    <a:pt x="7161" y="931863"/>
                  </a:cubicBezTo>
                  <a:close/>
                  <a:moveTo>
                    <a:pt x="69850" y="811213"/>
                  </a:moveTo>
                  <a:lnTo>
                    <a:pt x="84138" y="811213"/>
                  </a:lnTo>
                  <a:lnTo>
                    <a:pt x="100013" y="811213"/>
                  </a:lnTo>
                  <a:lnTo>
                    <a:pt x="101600" y="811213"/>
                  </a:lnTo>
                  <a:lnTo>
                    <a:pt x="101600" y="900113"/>
                  </a:lnTo>
                  <a:lnTo>
                    <a:pt x="100013" y="900113"/>
                  </a:lnTo>
                  <a:lnTo>
                    <a:pt x="84138" y="900113"/>
                  </a:lnTo>
                  <a:lnTo>
                    <a:pt x="69850" y="900113"/>
                  </a:lnTo>
                  <a:close/>
                  <a:moveTo>
                    <a:pt x="7161" y="671513"/>
                  </a:moveTo>
                  <a:cubicBezTo>
                    <a:pt x="7161" y="671513"/>
                    <a:pt x="17186" y="671513"/>
                    <a:pt x="69458" y="671513"/>
                  </a:cubicBezTo>
                  <a:cubicBezTo>
                    <a:pt x="73755" y="671513"/>
                    <a:pt x="78767" y="671513"/>
                    <a:pt x="84496" y="671513"/>
                  </a:cubicBezTo>
                  <a:cubicBezTo>
                    <a:pt x="89508" y="671513"/>
                    <a:pt x="94521" y="671513"/>
                    <a:pt x="100249" y="671513"/>
                  </a:cubicBezTo>
                  <a:cubicBezTo>
                    <a:pt x="100249" y="671513"/>
                    <a:pt x="100249" y="671513"/>
                    <a:pt x="100965" y="671513"/>
                  </a:cubicBezTo>
                  <a:cubicBezTo>
                    <a:pt x="105262" y="671513"/>
                    <a:pt x="110274" y="671513"/>
                    <a:pt x="116003" y="671513"/>
                  </a:cubicBezTo>
                  <a:cubicBezTo>
                    <a:pt x="121015" y="671513"/>
                    <a:pt x="126744" y="671513"/>
                    <a:pt x="132472" y="671513"/>
                  </a:cubicBezTo>
                  <a:cubicBezTo>
                    <a:pt x="141065" y="671513"/>
                    <a:pt x="151090" y="671513"/>
                    <a:pt x="161115" y="671513"/>
                  </a:cubicBezTo>
                  <a:cubicBezTo>
                    <a:pt x="165411" y="671513"/>
                    <a:pt x="168275" y="675093"/>
                    <a:pt x="168275" y="678672"/>
                  </a:cubicBezTo>
                  <a:cubicBezTo>
                    <a:pt x="168275" y="678672"/>
                    <a:pt x="168275" y="678672"/>
                    <a:pt x="168275" y="773892"/>
                  </a:cubicBezTo>
                  <a:cubicBezTo>
                    <a:pt x="168275" y="777471"/>
                    <a:pt x="165411" y="781051"/>
                    <a:pt x="161115" y="781051"/>
                  </a:cubicBezTo>
                  <a:cubicBezTo>
                    <a:pt x="161115" y="781051"/>
                    <a:pt x="156102" y="781051"/>
                    <a:pt x="132472" y="781051"/>
                  </a:cubicBezTo>
                  <a:cubicBezTo>
                    <a:pt x="127460" y="781051"/>
                    <a:pt x="122447" y="781051"/>
                    <a:pt x="116003" y="781051"/>
                  </a:cubicBezTo>
                  <a:cubicBezTo>
                    <a:pt x="110990" y="781051"/>
                    <a:pt x="105978" y="781051"/>
                    <a:pt x="100965" y="781051"/>
                  </a:cubicBezTo>
                  <a:cubicBezTo>
                    <a:pt x="100249" y="781051"/>
                    <a:pt x="100249" y="781051"/>
                    <a:pt x="100249" y="781051"/>
                  </a:cubicBezTo>
                  <a:cubicBezTo>
                    <a:pt x="95237" y="781051"/>
                    <a:pt x="90224" y="781051"/>
                    <a:pt x="84496" y="781051"/>
                  </a:cubicBezTo>
                  <a:cubicBezTo>
                    <a:pt x="79483" y="781051"/>
                    <a:pt x="74471" y="781051"/>
                    <a:pt x="69458" y="781051"/>
                  </a:cubicBezTo>
                  <a:cubicBezTo>
                    <a:pt x="51557" y="781051"/>
                    <a:pt x="31507" y="781051"/>
                    <a:pt x="7161" y="781051"/>
                  </a:cubicBezTo>
                  <a:cubicBezTo>
                    <a:pt x="2865" y="781051"/>
                    <a:pt x="0" y="777471"/>
                    <a:pt x="0" y="773892"/>
                  </a:cubicBezTo>
                  <a:cubicBezTo>
                    <a:pt x="0" y="773892"/>
                    <a:pt x="0" y="773892"/>
                    <a:pt x="0" y="678672"/>
                  </a:cubicBezTo>
                  <a:cubicBezTo>
                    <a:pt x="0" y="675093"/>
                    <a:pt x="2865" y="671513"/>
                    <a:pt x="7161" y="671513"/>
                  </a:cubicBezTo>
                  <a:close/>
                  <a:moveTo>
                    <a:pt x="69850" y="550863"/>
                  </a:moveTo>
                  <a:lnTo>
                    <a:pt x="84138" y="550863"/>
                  </a:lnTo>
                  <a:lnTo>
                    <a:pt x="100013" y="550863"/>
                  </a:lnTo>
                  <a:lnTo>
                    <a:pt x="101600" y="550863"/>
                  </a:lnTo>
                  <a:lnTo>
                    <a:pt x="101600" y="639763"/>
                  </a:lnTo>
                  <a:lnTo>
                    <a:pt x="100013" y="639763"/>
                  </a:lnTo>
                  <a:lnTo>
                    <a:pt x="84138" y="639763"/>
                  </a:lnTo>
                  <a:lnTo>
                    <a:pt x="69850" y="639763"/>
                  </a:lnTo>
                  <a:close/>
                  <a:moveTo>
                    <a:pt x="7161" y="411163"/>
                  </a:moveTo>
                  <a:cubicBezTo>
                    <a:pt x="7161" y="411163"/>
                    <a:pt x="17186" y="411163"/>
                    <a:pt x="69458" y="411163"/>
                  </a:cubicBezTo>
                  <a:cubicBezTo>
                    <a:pt x="73755" y="411163"/>
                    <a:pt x="78767" y="411163"/>
                    <a:pt x="84496" y="411163"/>
                  </a:cubicBezTo>
                  <a:cubicBezTo>
                    <a:pt x="89508" y="411163"/>
                    <a:pt x="94521" y="411163"/>
                    <a:pt x="100249" y="411163"/>
                  </a:cubicBezTo>
                  <a:cubicBezTo>
                    <a:pt x="100249" y="411163"/>
                    <a:pt x="100249" y="411163"/>
                    <a:pt x="100965" y="411163"/>
                  </a:cubicBezTo>
                  <a:cubicBezTo>
                    <a:pt x="105262" y="411163"/>
                    <a:pt x="110274" y="411163"/>
                    <a:pt x="116003" y="411163"/>
                  </a:cubicBezTo>
                  <a:cubicBezTo>
                    <a:pt x="121015" y="411163"/>
                    <a:pt x="126744" y="411163"/>
                    <a:pt x="132472" y="411163"/>
                  </a:cubicBezTo>
                  <a:cubicBezTo>
                    <a:pt x="141065" y="411163"/>
                    <a:pt x="151090" y="411163"/>
                    <a:pt x="161115" y="411163"/>
                  </a:cubicBezTo>
                  <a:cubicBezTo>
                    <a:pt x="165411" y="411163"/>
                    <a:pt x="168275" y="414691"/>
                    <a:pt x="168275" y="418218"/>
                  </a:cubicBezTo>
                  <a:cubicBezTo>
                    <a:pt x="168275" y="418218"/>
                    <a:pt x="168275" y="418218"/>
                    <a:pt x="168275" y="512057"/>
                  </a:cubicBezTo>
                  <a:cubicBezTo>
                    <a:pt x="168275" y="515585"/>
                    <a:pt x="165411" y="519113"/>
                    <a:pt x="161115" y="519113"/>
                  </a:cubicBezTo>
                  <a:cubicBezTo>
                    <a:pt x="161115" y="519113"/>
                    <a:pt x="156102" y="519113"/>
                    <a:pt x="132472" y="519113"/>
                  </a:cubicBezTo>
                  <a:cubicBezTo>
                    <a:pt x="127460" y="519113"/>
                    <a:pt x="122447" y="519113"/>
                    <a:pt x="116003" y="519113"/>
                  </a:cubicBezTo>
                  <a:cubicBezTo>
                    <a:pt x="110990" y="519113"/>
                    <a:pt x="105978" y="519113"/>
                    <a:pt x="100965" y="519113"/>
                  </a:cubicBezTo>
                  <a:cubicBezTo>
                    <a:pt x="100249" y="519113"/>
                    <a:pt x="100249" y="519113"/>
                    <a:pt x="100249" y="519113"/>
                  </a:cubicBezTo>
                  <a:cubicBezTo>
                    <a:pt x="95237" y="519113"/>
                    <a:pt x="90224" y="519113"/>
                    <a:pt x="84496" y="519113"/>
                  </a:cubicBezTo>
                  <a:cubicBezTo>
                    <a:pt x="79483" y="519113"/>
                    <a:pt x="74471" y="519113"/>
                    <a:pt x="69458" y="519113"/>
                  </a:cubicBezTo>
                  <a:cubicBezTo>
                    <a:pt x="51557" y="519113"/>
                    <a:pt x="31507" y="519113"/>
                    <a:pt x="7161" y="519113"/>
                  </a:cubicBezTo>
                  <a:cubicBezTo>
                    <a:pt x="2865" y="519113"/>
                    <a:pt x="0" y="515585"/>
                    <a:pt x="0" y="512057"/>
                  </a:cubicBezTo>
                  <a:cubicBezTo>
                    <a:pt x="0" y="512057"/>
                    <a:pt x="0" y="512057"/>
                    <a:pt x="0" y="418218"/>
                  </a:cubicBezTo>
                  <a:cubicBezTo>
                    <a:pt x="0" y="414691"/>
                    <a:pt x="2865" y="411163"/>
                    <a:pt x="7161" y="411163"/>
                  </a:cubicBezTo>
                  <a:close/>
                  <a:moveTo>
                    <a:pt x="599481" y="377825"/>
                  </a:moveTo>
                  <a:cubicBezTo>
                    <a:pt x="507986" y="377825"/>
                    <a:pt x="462238" y="433466"/>
                    <a:pt x="439365" y="480546"/>
                  </a:cubicBezTo>
                  <a:cubicBezTo>
                    <a:pt x="400050" y="564720"/>
                    <a:pt x="465098" y="648894"/>
                    <a:pt x="496549" y="682421"/>
                  </a:cubicBezTo>
                  <a:cubicBezTo>
                    <a:pt x="496549" y="682421"/>
                    <a:pt x="496549" y="682421"/>
                    <a:pt x="496549" y="778721"/>
                  </a:cubicBezTo>
                  <a:cubicBezTo>
                    <a:pt x="496549" y="783001"/>
                    <a:pt x="498694" y="786568"/>
                    <a:pt x="502268" y="787995"/>
                  </a:cubicBezTo>
                  <a:cubicBezTo>
                    <a:pt x="565885" y="813675"/>
                    <a:pt x="647373" y="814388"/>
                    <a:pt x="654521" y="814388"/>
                  </a:cubicBezTo>
                  <a:cubicBezTo>
                    <a:pt x="660240" y="814388"/>
                    <a:pt x="663814" y="809395"/>
                    <a:pt x="663814" y="805115"/>
                  </a:cubicBezTo>
                  <a:cubicBezTo>
                    <a:pt x="663814" y="805115"/>
                    <a:pt x="663814" y="805115"/>
                    <a:pt x="663814" y="738774"/>
                  </a:cubicBezTo>
                  <a:cubicBezTo>
                    <a:pt x="703843" y="742341"/>
                    <a:pt x="733150" y="738774"/>
                    <a:pt x="741728" y="733781"/>
                  </a:cubicBezTo>
                  <a:cubicBezTo>
                    <a:pt x="752450" y="728074"/>
                    <a:pt x="753165" y="715234"/>
                    <a:pt x="754594" y="690981"/>
                  </a:cubicBezTo>
                  <a:cubicBezTo>
                    <a:pt x="754594" y="690981"/>
                    <a:pt x="754594" y="690981"/>
                    <a:pt x="755309" y="688127"/>
                  </a:cubicBezTo>
                  <a:cubicBezTo>
                    <a:pt x="756024" y="672434"/>
                    <a:pt x="753879" y="649607"/>
                    <a:pt x="752450" y="636054"/>
                  </a:cubicBezTo>
                  <a:cubicBezTo>
                    <a:pt x="781757" y="635340"/>
                    <a:pt x="790335" y="619647"/>
                    <a:pt x="791049" y="614653"/>
                  </a:cubicBezTo>
                  <a:cubicBezTo>
                    <a:pt x="795338" y="603240"/>
                    <a:pt x="784616" y="591827"/>
                    <a:pt x="773894" y="579700"/>
                  </a:cubicBezTo>
                  <a:cubicBezTo>
                    <a:pt x="772464" y="578273"/>
                    <a:pt x="771750" y="577560"/>
                    <a:pt x="770320" y="576133"/>
                  </a:cubicBezTo>
                  <a:cubicBezTo>
                    <a:pt x="765316" y="570426"/>
                    <a:pt x="758883" y="559013"/>
                    <a:pt x="754594" y="544033"/>
                  </a:cubicBezTo>
                  <a:cubicBezTo>
                    <a:pt x="753165" y="540466"/>
                    <a:pt x="751735" y="534760"/>
                    <a:pt x="750305" y="527626"/>
                  </a:cubicBezTo>
                  <a:cubicBezTo>
                    <a:pt x="748161" y="519779"/>
                    <a:pt x="746731" y="510506"/>
                    <a:pt x="743872" y="503373"/>
                  </a:cubicBezTo>
                  <a:cubicBezTo>
                    <a:pt x="741728" y="495526"/>
                    <a:pt x="739583" y="471272"/>
                    <a:pt x="738869" y="458432"/>
                  </a:cubicBezTo>
                  <a:cubicBezTo>
                    <a:pt x="740298" y="458432"/>
                    <a:pt x="742443" y="459859"/>
                    <a:pt x="743157" y="459859"/>
                  </a:cubicBezTo>
                  <a:cubicBezTo>
                    <a:pt x="743872" y="459859"/>
                    <a:pt x="743872" y="459146"/>
                    <a:pt x="744587" y="458432"/>
                  </a:cubicBezTo>
                  <a:cubicBezTo>
                    <a:pt x="749591" y="437032"/>
                    <a:pt x="781042" y="402792"/>
                    <a:pt x="771035" y="402792"/>
                  </a:cubicBezTo>
                  <a:cubicBezTo>
                    <a:pt x="673821" y="404219"/>
                    <a:pt x="704558" y="377825"/>
                    <a:pt x="599481" y="377825"/>
                  </a:cubicBezTo>
                  <a:close/>
                  <a:moveTo>
                    <a:pt x="69850" y="290513"/>
                  </a:moveTo>
                  <a:lnTo>
                    <a:pt x="84138" y="290513"/>
                  </a:lnTo>
                  <a:lnTo>
                    <a:pt x="100013" y="290513"/>
                  </a:lnTo>
                  <a:lnTo>
                    <a:pt x="101600" y="290513"/>
                  </a:lnTo>
                  <a:lnTo>
                    <a:pt x="101600" y="379413"/>
                  </a:lnTo>
                  <a:lnTo>
                    <a:pt x="100013" y="379413"/>
                  </a:lnTo>
                  <a:lnTo>
                    <a:pt x="84138" y="379413"/>
                  </a:lnTo>
                  <a:lnTo>
                    <a:pt x="69850" y="379413"/>
                  </a:lnTo>
                  <a:close/>
                  <a:moveTo>
                    <a:pt x="7161" y="150813"/>
                  </a:moveTo>
                  <a:cubicBezTo>
                    <a:pt x="31507" y="150813"/>
                    <a:pt x="51557" y="150813"/>
                    <a:pt x="69458" y="150813"/>
                  </a:cubicBezTo>
                  <a:cubicBezTo>
                    <a:pt x="74471" y="150813"/>
                    <a:pt x="79483" y="150813"/>
                    <a:pt x="84496" y="150813"/>
                  </a:cubicBezTo>
                  <a:cubicBezTo>
                    <a:pt x="90224" y="150813"/>
                    <a:pt x="95237" y="150813"/>
                    <a:pt x="100249" y="150813"/>
                  </a:cubicBezTo>
                  <a:cubicBezTo>
                    <a:pt x="100249" y="150813"/>
                    <a:pt x="100249" y="150813"/>
                    <a:pt x="100965" y="150813"/>
                  </a:cubicBezTo>
                  <a:cubicBezTo>
                    <a:pt x="105978" y="150813"/>
                    <a:pt x="110990" y="150813"/>
                    <a:pt x="116003" y="150813"/>
                  </a:cubicBezTo>
                  <a:cubicBezTo>
                    <a:pt x="122447" y="150813"/>
                    <a:pt x="127460" y="150813"/>
                    <a:pt x="132472" y="150813"/>
                  </a:cubicBezTo>
                  <a:cubicBezTo>
                    <a:pt x="156102" y="150813"/>
                    <a:pt x="161115" y="150813"/>
                    <a:pt x="161115" y="150813"/>
                  </a:cubicBezTo>
                  <a:cubicBezTo>
                    <a:pt x="165411" y="150813"/>
                    <a:pt x="168275" y="153635"/>
                    <a:pt x="168275" y="157868"/>
                  </a:cubicBezTo>
                  <a:cubicBezTo>
                    <a:pt x="168275" y="251707"/>
                    <a:pt x="168275" y="251707"/>
                    <a:pt x="168275" y="251707"/>
                  </a:cubicBezTo>
                  <a:cubicBezTo>
                    <a:pt x="168275" y="255941"/>
                    <a:pt x="165411" y="258763"/>
                    <a:pt x="161115" y="258763"/>
                  </a:cubicBezTo>
                  <a:cubicBezTo>
                    <a:pt x="151090" y="258763"/>
                    <a:pt x="141065" y="258763"/>
                    <a:pt x="132472" y="258763"/>
                  </a:cubicBezTo>
                  <a:cubicBezTo>
                    <a:pt x="126744" y="258763"/>
                    <a:pt x="121015" y="258763"/>
                    <a:pt x="116003" y="258763"/>
                  </a:cubicBezTo>
                  <a:cubicBezTo>
                    <a:pt x="110274" y="258763"/>
                    <a:pt x="105262" y="258763"/>
                    <a:pt x="100965" y="258763"/>
                  </a:cubicBezTo>
                  <a:cubicBezTo>
                    <a:pt x="100249" y="258763"/>
                    <a:pt x="100249" y="258763"/>
                    <a:pt x="100249" y="258763"/>
                  </a:cubicBezTo>
                  <a:cubicBezTo>
                    <a:pt x="94521" y="258763"/>
                    <a:pt x="89508" y="258763"/>
                    <a:pt x="84496" y="258763"/>
                  </a:cubicBezTo>
                  <a:cubicBezTo>
                    <a:pt x="78767" y="258763"/>
                    <a:pt x="73755" y="258763"/>
                    <a:pt x="69458" y="258763"/>
                  </a:cubicBezTo>
                  <a:cubicBezTo>
                    <a:pt x="17186" y="258763"/>
                    <a:pt x="7161" y="258763"/>
                    <a:pt x="7161" y="258763"/>
                  </a:cubicBezTo>
                  <a:cubicBezTo>
                    <a:pt x="2865" y="258763"/>
                    <a:pt x="0" y="255941"/>
                    <a:pt x="0" y="251707"/>
                  </a:cubicBezTo>
                  <a:cubicBezTo>
                    <a:pt x="0" y="157868"/>
                    <a:pt x="0" y="157868"/>
                    <a:pt x="0" y="157868"/>
                  </a:cubicBezTo>
                  <a:cubicBezTo>
                    <a:pt x="0" y="153635"/>
                    <a:pt x="2865" y="150813"/>
                    <a:pt x="7161" y="150813"/>
                  </a:cubicBezTo>
                  <a:close/>
                  <a:moveTo>
                    <a:pt x="328613" y="63500"/>
                  </a:moveTo>
                  <a:lnTo>
                    <a:pt x="906463" y="63500"/>
                  </a:lnTo>
                  <a:lnTo>
                    <a:pt x="906463" y="1128713"/>
                  </a:lnTo>
                  <a:lnTo>
                    <a:pt x="328613" y="1128713"/>
                  </a:lnTo>
                  <a:close/>
                  <a:moveTo>
                    <a:pt x="133350" y="63500"/>
                  </a:moveTo>
                  <a:cubicBezTo>
                    <a:pt x="133350" y="63500"/>
                    <a:pt x="133350" y="63500"/>
                    <a:pt x="296863" y="63500"/>
                  </a:cubicBezTo>
                  <a:cubicBezTo>
                    <a:pt x="296863" y="63500"/>
                    <a:pt x="296863" y="63500"/>
                    <a:pt x="296863" y="1128713"/>
                  </a:cubicBezTo>
                  <a:cubicBezTo>
                    <a:pt x="296863" y="1128713"/>
                    <a:pt x="296863" y="1128713"/>
                    <a:pt x="133350" y="1128713"/>
                  </a:cubicBezTo>
                  <a:cubicBezTo>
                    <a:pt x="133350" y="1128713"/>
                    <a:pt x="133350" y="1128713"/>
                    <a:pt x="133350" y="1071674"/>
                  </a:cubicBezTo>
                  <a:cubicBezTo>
                    <a:pt x="133350" y="1071674"/>
                    <a:pt x="133350" y="1071674"/>
                    <a:pt x="161664" y="1071674"/>
                  </a:cubicBezTo>
                  <a:cubicBezTo>
                    <a:pt x="183607" y="1071674"/>
                    <a:pt x="199888" y="1054562"/>
                    <a:pt x="199888" y="1033172"/>
                  </a:cubicBezTo>
                  <a:cubicBezTo>
                    <a:pt x="199888" y="1033172"/>
                    <a:pt x="199888" y="1033172"/>
                    <a:pt x="199888" y="938344"/>
                  </a:cubicBezTo>
                  <a:cubicBezTo>
                    <a:pt x="199888" y="916954"/>
                    <a:pt x="183607" y="899842"/>
                    <a:pt x="161664" y="899842"/>
                  </a:cubicBezTo>
                  <a:cubicBezTo>
                    <a:pt x="161664" y="899842"/>
                    <a:pt x="161664" y="899842"/>
                    <a:pt x="133350" y="899842"/>
                  </a:cubicBezTo>
                  <a:cubicBezTo>
                    <a:pt x="133350" y="899842"/>
                    <a:pt x="133350" y="899842"/>
                    <a:pt x="133350" y="811431"/>
                  </a:cubicBezTo>
                  <a:cubicBezTo>
                    <a:pt x="133350" y="811431"/>
                    <a:pt x="133350" y="811431"/>
                    <a:pt x="161664" y="811431"/>
                  </a:cubicBezTo>
                  <a:cubicBezTo>
                    <a:pt x="182900" y="811431"/>
                    <a:pt x="199888" y="794319"/>
                    <a:pt x="199888" y="772929"/>
                  </a:cubicBezTo>
                  <a:cubicBezTo>
                    <a:pt x="199888" y="772929"/>
                    <a:pt x="199888" y="772929"/>
                    <a:pt x="199888" y="678101"/>
                  </a:cubicBezTo>
                  <a:cubicBezTo>
                    <a:pt x="199888" y="656711"/>
                    <a:pt x="182900" y="639599"/>
                    <a:pt x="161664" y="639599"/>
                  </a:cubicBezTo>
                  <a:cubicBezTo>
                    <a:pt x="161664" y="639599"/>
                    <a:pt x="161664" y="639599"/>
                    <a:pt x="133350" y="639599"/>
                  </a:cubicBezTo>
                  <a:cubicBezTo>
                    <a:pt x="133350" y="639599"/>
                    <a:pt x="133350" y="639599"/>
                    <a:pt x="133350" y="551188"/>
                  </a:cubicBezTo>
                  <a:cubicBezTo>
                    <a:pt x="133350" y="551188"/>
                    <a:pt x="133350" y="551188"/>
                    <a:pt x="161664" y="551188"/>
                  </a:cubicBezTo>
                  <a:cubicBezTo>
                    <a:pt x="182900" y="551188"/>
                    <a:pt x="199888" y="534076"/>
                    <a:pt x="199888" y="512686"/>
                  </a:cubicBezTo>
                  <a:cubicBezTo>
                    <a:pt x="199888" y="512686"/>
                    <a:pt x="199888" y="512686"/>
                    <a:pt x="199888" y="417858"/>
                  </a:cubicBezTo>
                  <a:cubicBezTo>
                    <a:pt x="199888" y="396468"/>
                    <a:pt x="182900" y="379356"/>
                    <a:pt x="161664" y="379356"/>
                  </a:cubicBezTo>
                  <a:cubicBezTo>
                    <a:pt x="161664" y="379356"/>
                    <a:pt x="161664" y="379356"/>
                    <a:pt x="133350" y="379356"/>
                  </a:cubicBezTo>
                  <a:cubicBezTo>
                    <a:pt x="133350" y="379356"/>
                    <a:pt x="133350" y="379356"/>
                    <a:pt x="133350" y="290945"/>
                  </a:cubicBezTo>
                  <a:cubicBezTo>
                    <a:pt x="133350" y="290945"/>
                    <a:pt x="133350" y="290945"/>
                    <a:pt x="161664" y="290945"/>
                  </a:cubicBezTo>
                  <a:cubicBezTo>
                    <a:pt x="183607" y="290945"/>
                    <a:pt x="199888" y="273833"/>
                    <a:pt x="199888" y="252443"/>
                  </a:cubicBezTo>
                  <a:cubicBezTo>
                    <a:pt x="199888" y="252443"/>
                    <a:pt x="199888" y="252443"/>
                    <a:pt x="199888" y="157615"/>
                  </a:cubicBezTo>
                  <a:cubicBezTo>
                    <a:pt x="199888" y="136225"/>
                    <a:pt x="183607" y="119113"/>
                    <a:pt x="161664" y="119113"/>
                  </a:cubicBezTo>
                  <a:cubicBezTo>
                    <a:pt x="161664" y="119113"/>
                    <a:pt x="161664" y="119113"/>
                    <a:pt x="133350" y="119113"/>
                  </a:cubicBezTo>
                  <a:cubicBezTo>
                    <a:pt x="133350" y="119113"/>
                    <a:pt x="133350" y="119113"/>
                    <a:pt x="133350" y="63500"/>
                  </a:cubicBezTo>
                  <a:close/>
                  <a:moveTo>
                    <a:pt x="85564" y="0"/>
                  </a:moveTo>
                  <a:cubicBezTo>
                    <a:pt x="85564" y="0"/>
                    <a:pt x="85564" y="0"/>
                    <a:pt x="952662" y="0"/>
                  </a:cubicBezTo>
                  <a:cubicBezTo>
                    <a:pt x="961947" y="0"/>
                    <a:pt x="968375" y="7139"/>
                    <a:pt x="968375" y="15706"/>
                  </a:cubicBezTo>
                  <a:cubicBezTo>
                    <a:pt x="968375" y="15706"/>
                    <a:pt x="968375" y="15706"/>
                    <a:pt x="968375" y="1176507"/>
                  </a:cubicBezTo>
                  <a:cubicBezTo>
                    <a:pt x="968375" y="1185788"/>
                    <a:pt x="961947" y="1192213"/>
                    <a:pt x="952662" y="1192213"/>
                  </a:cubicBezTo>
                  <a:cubicBezTo>
                    <a:pt x="952662" y="1192213"/>
                    <a:pt x="952662" y="1192213"/>
                    <a:pt x="85564" y="1192213"/>
                  </a:cubicBezTo>
                  <a:cubicBezTo>
                    <a:pt x="76278" y="1192213"/>
                    <a:pt x="69850" y="1185788"/>
                    <a:pt x="69850" y="1176507"/>
                  </a:cubicBezTo>
                  <a:cubicBezTo>
                    <a:pt x="69850" y="1176507"/>
                    <a:pt x="69850" y="1176507"/>
                    <a:pt x="69850" y="1072278"/>
                  </a:cubicBezTo>
                  <a:cubicBezTo>
                    <a:pt x="69850" y="1072278"/>
                    <a:pt x="69850" y="1072278"/>
                    <a:pt x="84849" y="1072278"/>
                  </a:cubicBezTo>
                  <a:cubicBezTo>
                    <a:pt x="84849" y="1072278"/>
                    <a:pt x="84849" y="1072278"/>
                    <a:pt x="100563" y="1072278"/>
                  </a:cubicBezTo>
                  <a:cubicBezTo>
                    <a:pt x="100563" y="1072278"/>
                    <a:pt x="100563" y="1072278"/>
                    <a:pt x="101277" y="1072278"/>
                  </a:cubicBezTo>
                  <a:cubicBezTo>
                    <a:pt x="101277" y="1072278"/>
                    <a:pt x="101277" y="1072278"/>
                    <a:pt x="101277" y="1145096"/>
                  </a:cubicBezTo>
                  <a:cubicBezTo>
                    <a:pt x="101277" y="1145096"/>
                    <a:pt x="101277" y="1145096"/>
                    <a:pt x="101277" y="1160802"/>
                  </a:cubicBezTo>
                  <a:cubicBezTo>
                    <a:pt x="101277" y="1160802"/>
                    <a:pt x="101277" y="1160802"/>
                    <a:pt x="116991" y="1160802"/>
                  </a:cubicBezTo>
                  <a:cubicBezTo>
                    <a:pt x="116991" y="1160802"/>
                    <a:pt x="116991" y="1160802"/>
                    <a:pt x="313409" y="1160802"/>
                  </a:cubicBezTo>
                  <a:cubicBezTo>
                    <a:pt x="313409" y="1160802"/>
                    <a:pt x="313409" y="1160802"/>
                    <a:pt x="329123" y="1160802"/>
                  </a:cubicBezTo>
                  <a:cubicBezTo>
                    <a:pt x="329123" y="1160802"/>
                    <a:pt x="329123" y="1160802"/>
                    <a:pt x="921235" y="1160802"/>
                  </a:cubicBezTo>
                  <a:cubicBezTo>
                    <a:pt x="921235" y="1160802"/>
                    <a:pt x="921235" y="1160802"/>
                    <a:pt x="936948" y="1160802"/>
                  </a:cubicBezTo>
                  <a:cubicBezTo>
                    <a:pt x="936948" y="1160802"/>
                    <a:pt x="936948" y="1160802"/>
                    <a:pt x="936948" y="1145096"/>
                  </a:cubicBezTo>
                  <a:cubicBezTo>
                    <a:pt x="936948" y="1145096"/>
                    <a:pt x="936948" y="1145096"/>
                    <a:pt x="936948" y="47117"/>
                  </a:cubicBezTo>
                  <a:cubicBezTo>
                    <a:pt x="936948" y="47117"/>
                    <a:pt x="936948" y="47117"/>
                    <a:pt x="936948" y="31411"/>
                  </a:cubicBezTo>
                  <a:cubicBezTo>
                    <a:pt x="936948" y="31411"/>
                    <a:pt x="936948" y="31411"/>
                    <a:pt x="329123" y="31411"/>
                  </a:cubicBezTo>
                  <a:cubicBezTo>
                    <a:pt x="329123" y="31411"/>
                    <a:pt x="329123" y="31411"/>
                    <a:pt x="313409" y="31411"/>
                  </a:cubicBezTo>
                  <a:cubicBezTo>
                    <a:pt x="313409" y="31411"/>
                    <a:pt x="313409" y="31411"/>
                    <a:pt x="101277" y="31411"/>
                  </a:cubicBezTo>
                  <a:cubicBezTo>
                    <a:pt x="101277" y="31411"/>
                    <a:pt x="101277" y="31411"/>
                    <a:pt x="101277" y="47117"/>
                  </a:cubicBezTo>
                  <a:cubicBezTo>
                    <a:pt x="101277" y="47117"/>
                    <a:pt x="101277" y="47117"/>
                    <a:pt x="101277" y="118507"/>
                  </a:cubicBezTo>
                  <a:cubicBezTo>
                    <a:pt x="101277" y="118507"/>
                    <a:pt x="101277" y="118507"/>
                    <a:pt x="100563" y="118507"/>
                  </a:cubicBezTo>
                  <a:cubicBezTo>
                    <a:pt x="100563" y="118507"/>
                    <a:pt x="100563" y="118507"/>
                    <a:pt x="84849" y="118507"/>
                  </a:cubicBezTo>
                  <a:cubicBezTo>
                    <a:pt x="84849" y="118507"/>
                    <a:pt x="84849" y="118507"/>
                    <a:pt x="69850" y="118507"/>
                  </a:cubicBezTo>
                  <a:cubicBezTo>
                    <a:pt x="69850" y="118507"/>
                    <a:pt x="69850" y="118507"/>
                    <a:pt x="69850" y="15706"/>
                  </a:cubicBezTo>
                  <a:cubicBezTo>
                    <a:pt x="69850" y="7139"/>
                    <a:pt x="76278" y="0"/>
                    <a:pt x="85564"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28" name="Oval 20">
            <a:extLst>
              <a:ext uri="{FF2B5EF4-FFF2-40B4-BE49-F238E27FC236}">
                <a16:creationId xmlns:a16="http://schemas.microsoft.com/office/drawing/2014/main" id="{5570434F-0D08-9C36-1F4E-557BEEDB391E}"/>
              </a:ext>
            </a:extLst>
          </p:cNvPr>
          <p:cNvSpPr>
            <a:spLocks noChangeAspect="1" noChangeArrowheads="1"/>
          </p:cNvSpPr>
          <p:nvPr/>
        </p:nvSpPr>
        <p:spPr bwMode="auto">
          <a:xfrm>
            <a:off x="3537503" y="3925877"/>
            <a:ext cx="306910" cy="306910"/>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cxnSp>
        <p:nvCxnSpPr>
          <p:cNvPr id="30" name="Straight Arrow Connector 29">
            <a:extLst>
              <a:ext uri="{FF2B5EF4-FFF2-40B4-BE49-F238E27FC236}">
                <a16:creationId xmlns:a16="http://schemas.microsoft.com/office/drawing/2014/main" id="{7C965123-B3F3-6335-75A6-8CF697F0AE74}"/>
              </a:ext>
            </a:extLst>
          </p:cNvPr>
          <p:cNvCxnSpPr/>
          <p:nvPr/>
        </p:nvCxnSpPr>
        <p:spPr>
          <a:xfrm>
            <a:off x="3844413" y="4079332"/>
            <a:ext cx="3618271" cy="0"/>
          </a:xfrm>
          <a:prstGeom prst="straightConnector1">
            <a:avLst/>
          </a:prstGeom>
          <a:ln w="28575" cap="rnd" cmpd="sng" algn="ctr">
            <a:solidFill>
              <a:srgbClr val="D4DF33"/>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77716043-05B8-F68F-91EA-9F6B533DC785}"/>
              </a:ext>
            </a:extLst>
          </p:cNvPr>
          <p:cNvSpPr/>
          <p:nvPr/>
        </p:nvSpPr>
        <p:spPr>
          <a:xfrm>
            <a:off x="7462684" y="1533832"/>
            <a:ext cx="3677264" cy="4950127"/>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zh-CN" altLang="en-US" sz="1400" dirty="0">
                <a:solidFill>
                  <a:srgbClr val="575757"/>
                </a:solidFill>
              </a:rPr>
              <a:t>调查问卷</a:t>
            </a:r>
            <a:endParaRPr lang="en-US" altLang="zh-CN" sz="1400" dirty="0">
              <a:solidFill>
                <a:srgbClr val="575757"/>
              </a:solidFill>
            </a:endParaRPr>
          </a:p>
          <a:p>
            <a:pPr algn="ctr"/>
            <a:r>
              <a:rPr lang="zh-CN" altLang="en-US" sz="1400" dirty="0">
                <a:solidFill>
                  <a:srgbClr val="575757"/>
                </a:solidFill>
              </a:rPr>
              <a:t>（填写信息）</a:t>
            </a:r>
            <a:endParaRPr lang="en-US" altLang="zh-CN" sz="1400" dirty="0">
              <a:solidFill>
                <a:srgbClr val="575757"/>
              </a:solidFill>
            </a:endParaRPr>
          </a:p>
          <a:p>
            <a:pPr algn="ctr"/>
            <a:endParaRPr lang="en-US" sz="1400" dirty="0">
              <a:solidFill>
                <a:srgbClr val="575757"/>
              </a:solidFill>
            </a:endParaRPr>
          </a:p>
          <a:p>
            <a:pPr algn="ctr"/>
            <a:endParaRPr lang="en-US" sz="1400" dirty="0">
              <a:solidFill>
                <a:srgbClr val="575757"/>
              </a:solidFill>
            </a:endParaRPr>
          </a:p>
          <a:p>
            <a:pPr algn="ctr"/>
            <a:endParaRPr lang="en-US" sz="1400" dirty="0">
              <a:solidFill>
                <a:srgbClr val="575757"/>
              </a:solidFill>
            </a:endParaRPr>
          </a:p>
          <a:p>
            <a:pPr algn="ctr"/>
            <a:r>
              <a:rPr lang="zh-CN" altLang="en-US" sz="1400" dirty="0">
                <a:solidFill>
                  <a:srgbClr val="575757"/>
                </a:solidFill>
              </a:rPr>
              <a:t>内容后续设计</a:t>
            </a:r>
            <a:endParaRPr lang="en-US" altLang="zh-CN" sz="1400" dirty="0">
              <a:solidFill>
                <a:srgbClr val="575757"/>
              </a:solidFill>
            </a:endParaRPr>
          </a:p>
          <a:p>
            <a:pPr algn="ctr"/>
            <a:r>
              <a:rPr lang="zh-CN" altLang="en-US" sz="1400" dirty="0">
                <a:solidFill>
                  <a:srgbClr val="575757"/>
                </a:solidFill>
              </a:rPr>
              <a:t>包括姓名、联系方式、职业信息等</a:t>
            </a:r>
            <a:endParaRPr lang="en-US" altLang="zh-CN" sz="1400" dirty="0">
              <a:solidFill>
                <a:srgbClr val="575757"/>
              </a:solidFill>
            </a:endParaRPr>
          </a:p>
        </p:txBody>
      </p:sp>
      <p:sp>
        <p:nvSpPr>
          <p:cNvPr id="32" name="TextBox 31">
            <a:extLst>
              <a:ext uri="{FF2B5EF4-FFF2-40B4-BE49-F238E27FC236}">
                <a16:creationId xmlns:a16="http://schemas.microsoft.com/office/drawing/2014/main" id="{080D8A21-D036-FA2A-085C-9E5C37A964FE}"/>
              </a:ext>
            </a:extLst>
          </p:cNvPr>
          <p:cNvSpPr txBox="1"/>
          <p:nvPr/>
        </p:nvSpPr>
        <p:spPr>
          <a:xfrm>
            <a:off x="5889523" y="3470790"/>
            <a:ext cx="1356852" cy="529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solidFill>
                  <a:srgbClr val="575757"/>
                </a:solidFill>
              </a:rPr>
              <a:t>点击跳转申领校友卡</a:t>
            </a:r>
            <a:endParaRPr lang="en-US" dirty="0" err="1">
              <a:solidFill>
                <a:srgbClr val="575757"/>
              </a:solidFill>
            </a:endParaRPr>
          </a:p>
        </p:txBody>
      </p:sp>
      <p:sp>
        <p:nvSpPr>
          <p:cNvPr id="33" name="Speech Bubble: Rectangle with Corners Rounded 32">
            <a:extLst>
              <a:ext uri="{FF2B5EF4-FFF2-40B4-BE49-F238E27FC236}">
                <a16:creationId xmlns:a16="http://schemas.microsoft.com/office/drawing/2014/main" id="{9ABFD4B6-19D4-A16A-9D5E-BC48F399744F}"/>
              </a:ext>
            </a:extLst>
          </p:cNvPr>
          <p:cNvSpPr/>
          <p:nvPr/>
        </p:nvSpPr>
        <p:spPr>
          <a:xfrm>
            <a:off x="8278761" y="4965290"/>
            <a:ext cx="2654710" cy="1269910"/>
          </a:xfrm>
          <a:prstGeom prst="wedgeRoundRectCallout">
            <a:avLst>
              <a:gd name="adj1" fmla="val -14036"/>
              <a:gd name="adj2" fmla="val -117125"/>
              <a:gd name="adj3" fmla="val 16667"/>
            </a:avLst>
          </a:prstGeom>
          <a:solidFill>
            <a:schemeClr val="accent3">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rgbClr val="575757"/>
                </a:solidFill>
              </a:rPr>
              <a:t>此处问卷填写的全部内容，可在后台管理端进行查看、展示</a:t>
            </a:r>
            <a:endParaRPr lang="en-US" sz="1200" dirty="0">
              <a:solidFill>
                <a:srgbClr val="575757"/>
              </a:solidFill>
            </a:endParaRPr>
          </a:p>
        </p:txBody>
      </p:sp>
      <p:sp>
        <p:nvSpPr>
          <p:cNvPr id="34" name="TextBox 33">
            <a:extLst>
              <a:ext uri="{FF2B5EF4-FFF2-40B4-BE49-F238E27FC236}">
                <a16:creationId xmlns:a16="http://schemas.microsoft.com/office/drawing/2014/main" id="{FA0B7CFE-0C0B-A1EB-BD36-81C19456B799}"/>
              </a:ext>
            </a:extLst>
          </p:cNvPr>
          <p:cNvSpPr txBox="1"/>
          <p:nvPr/>
        </p:nvSpPr>
        <p:spPr>
          <a:xfrm>
            <a:off x="8340213" y="915663"/>
            <a:ext cx="1922206" cy="529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b="1" dirty="0">
                <a:solidFill>
                  <a:srgbClr val="A8B21C"/>
                </a:solidFill>
              </a:rPr>
              <a:t>表</a:t>
            </a:r>
            <a:r>
              <a:rPr lang="en-US" altLang="zh-CN" b="1" dirty="0">
                <a:solidFill>
                  <a:srgbClr val="A8B21C"/>
                </a:solidFill>
              </a:rPr>
              <a:t>1</a:t>
            </a:r>
            <a:r>
              <a:rPr lang="zh-CN" altLang="en-US" b="1" dirty="0">
                <a:solidFill>
                  <a:srgbClr val="A8B21C"/>
                </a:solidFill>
              </a:rPr>
              <a:t>：申领校友卡</a:t>
            </a:r>
            <a:endParaRPr lang="en-US" b="1" dirty="0" err="1">
              <a:solidFill>
                <a:srgbClr val="A8B21C"/>
              </a:solidFill>
            </a:endParaRPr>
          </a:p>
        </p:txBody>
      </p:sp>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CBDAB94-7B71-43B0-15EC-1DB7B2DD72D1}"/>
              </a:ext>
            </a:extLst>
          </p:cNvPr>
          <p:cNvGraphicFramePr>
            <a:graphicFrameLocks noChangeAspect="1"/>
          </p:cNvGraphicFramePr>
          <p:nvPr>
            <p:custDataLst>
              <p:tags r:id="rId1"/>
            </p:custDataLst>
            <p:extLst>
              <p:ext uri="{D42A27DB-BD31-4B8C-83A1-F6EECF244321}">
                <p14:modId xmlns:p14="http://schemas.microsoft.com/office/powerpoint/2010/main" val="3291494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1A9969-4D89-1923-DE51-F9857CEC0EB3}"/>
              </a:ext>
            </a:extLst>
          </p:cNvPr>
          <p:cNvSpPr>
            <a:spLocks noGrp="1"/>
          </p:cNvSpPr>
          <p:nvPr>
            <p:ph type="title"/>
          </p:nvPr>
        </p:nvSpPr>
        <p:spPr/>
        <p:txBody>
          <a:bodyPr vert="horz"/>
          <a:lstStyle/>
          <a:p>
            <a:r>
              <a:rPr lang="zh-CN" altLang="en-US" dirty="0"/>
              <a:t>我的界面</a:t>
            </a:r>
            <a:r>
              <a:rPr lang="en-US" altLang="zh-CN" dirty="0"/>
              <a:t>—</a:t>
            </a:r>
            <a:r>
              <a:rPr lang="zh-CN" altLang="en-US" dirty="0"/>
              <a:t>申领后</a:t>
            </a:r>
            <a:endParaRPr lang="en-US" dirty="0"/>
          </a:p>
        </p:txBody>
      </p:sp>
      <p:sp>
        <p:nvSpPr>
          <p:cNvPr id="3" name="Rectangle 2">
            <a:extLst>
              <a:ext uri="{FF2B5EF4-FFF2-40B4-BE49-F238E27FC236}">
                <a16:creationId xmlns:a16="http://schemas.microsoft.com/office/drawing/2014/main" id="{10B47D98-218A-E72E-B31F-69DC6FD96B0D}"/>
              </a:ext>
            </a:extLst>
          </p:cNvPr>
          <p:cNvSpPr/>
          <p:nvPr/>
        </p:nvSpPr>
        <p:spPr>
          <a:xfrm>
            <a:off x="630000" y="1406013"/>
            <a:ext cx="5013716" cy="540774"/>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rgbClr val="FFFFFF"/>
                </a:solidFill>
              </a:rPr>
              <a:t>个人中心</a:t>
            </a:r>
            <a:endParaRPr lang="en-US" sz="1200" dirty="0">
              <a:solidFill>
                <a:srgbClr val="FFFFFF"/>
              </a:solidFill>
            </a:endParaRPr>
          </a:p>
        </p:txBody>
      </p:sp>
      <p:pic>
        <p:nvPicPr>
          <p:cNvPr id="4" name="Picture 3">
            <a:extLst>
              <a:ext uri="{FF2B5EF4-FFF2-40B4-BE49-F238E27FC236}">
                <a16:creationId xmlns:a16="http://schemas.microsoft.com/office/drawing/2014/main" id="{0A03FD6B-520B-9BE0-CE37-4BE39E0BF9B9}"/>
              </a:ext>
            </a:extLst>
          </p:cNvPr>
          <p:cNvPicPr>
            <a:picLocks noChangeAspect="1"/>
          </p:cNvPicPr>
          <p:nvPr/>
        </p:nvPicPr>
        <p:blipFill>
          <a:blip r:embed="rId5"/>
          <a:stretch>
            <a:fillRect/>
          </a:stretch>
        </p:blipFill>
        <p:spPr>
          <a:xfrm>
            <a:off x="630000" y="1941452"/>
            <a:ext cx="5013716" cy="962229"/>
          </a:xfrm>
          <a:prstGeom prst="rect">
            <a:avLst/>
          </a:prstGeom>
        </p:spPr>
      </p:pic>
      <p:sp>
        <p:nvSpPr>
          <p:cNvPr id="5" name="Rectangle: Rounded Corners 4">
            <a:extLst>
              <a:ext uri="{FF2B5EF4-FFF2-40B4-BE49-F238E27FC236}">
                <a16:creationId xmlns:a16="http://schemas.microsoft.com/office/drawing/2014/main" id="{6220A23C-428D-CC91-F286-A487EE465A64}"/>
              </a:ext>
            </a:extLst>
          </p:cNvPr>
          <p:cNvSpPr/>
          <p:nvPr/>
        </p:nvSpPr>
        <p:spPr>
          <a:xfrm>
            <a:off x="1052052" y="2989007"/>
            <a:ext cx="4129548" cy="1592826"/>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zh-CN" altLang="en-US" sz="1200" dirty="0">
                <a:solidFill>
                  <a:srgbClr val="FFFFFF"/>
                </a:solidFill>
              </a:rPr>
              <a:t>百森俱乐部校友卡</a:t>
            </a:r>
            <a:endParaRPr lang="en-US" sz="1200" dirty="0">
              <a:solidFill>
                <a:srgbClr val="FFFFFF"/>
              </a:solidFill>
            </a:endParaRPr>
          </a:p>
          <a:p>
            <a:pPr algn="ctr"/>
            <a:r>
              <a:rPr lang="en-US" sz="1200" dirty="0">
                <a:solidFill>
                  <a:srgbClr val="FFFFFF"/>
                </a:solidFill>
              </a:rPr>
              <a:t>B</a:t>
            </a:r>
            <a:r>
              <a:rPr lang="en-US" altLang="zh-CN" sz="1200" dirty="0">
                <a:solidFill>
                  <a:srgbClr val="FFFFFF"/>
                </a:solidFill>
              </a:rPr>
              <a:t>abson China Club</a:t>
            </a:r>
            <a:endParaRPr lang="en-US" sz="1200" dirty="0">
              <a:solidFill>
                <a:srgbClr val="FFFFFF"/>
              </a:solidFill>
            </a:endParaRPr>
          </a:p>
        </p:txBody>
      </p:sp>
      <p:sp>
        <p:nvSpPr>
          <p:cNvPr id="7" name="Rectangle 6">
            <a:extLst>
              <a:ext uri="{FF2B5EF4-FFF2-40B4-BE49-F238E27FC236}">
                <a16:creationId xmlns:a16="http://schemas.microsoft.com/office/drawing/2014/main" id="{3AD762EE-0A51-7741-50D8-B375D728310D}"/>
              </a:ext>
            </a:extLst>
          </p:cNvPr>
          <p:cNvSpPr/>
          <p:nvPr/>
        </p:nvSpPr>
        <p:spPr>
          <a:xfrm>
            <a:off x="630000" y="1406013"/>
            <a:ext cx="5013716" cy="4493345"/>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 name="TextBox 7">
            <a:extLst>
              <a:ext uri="{FF2B5EF4-FFF2-40B4-BE49-F238E27FC236}">
                <a16:creationId xmlns:a16="http://schemas.microsoft.com/office/drawing/2014/main" id="{93788A5D-8E5A-C891-6403-6D5E29502567}"/>
              </a:ext>
            </a:extLst>
          </p:cNvPr>
          <p:cNvSpPr txBox="1"/>
          <p:nvPr/>
        </p:nvSpPr>
        <p:spPr>
          <a:xfrm>
            <a:off x="1052052" y="5132441"/>
            <a:ext cx="4129548" cy="7669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CN" altLang="en-US" sz="1200" dirty="0">
                <a:solidFill>
                  <a:srgbClr val="575757"/>
                </a:solidFill>
              </a:rPr>
              <a:t>校友会联系方式：</a:t>
            </a:r>
            <a:endParaRPr lang="en-US" altLang="zh-CN" sz="1200" dirty="0">
              <a:solidFill>
                <a:srgbClr val="575757"/>
              </a:solidFill>
            </a:endParaRPr>
          </a:p>
          <a:p>
            <a:r>
              <a:rPr lang="en-US" sz="1200" dirty="0" err="1">
                <a:solidFill>
                  <a:srgbClr val="575757"/>
                </a:solidFill>
              </a:rPr>
              <a:t>xxxxxxxxxxxxxxxx</a:t>
            </a:r>
            <a:r>
              <a:rPr lang="en-US" altLang="zh-CN" sz="1200" dirty="0" err="1">
                <a:solidFill>
                  <a:srgbClr val="575757"/>
                </a:solidFill>
              </a:rPr>
              <a:t>xxxxxxxxxxxxxx</a:t>
            </a:r>
            <a:r>
              <a:rPr lang="en-US" sz="1200" dirty="0" err="1">
                <a:solidFill>
                  <a:srgbClr val="575757"/>
                </a:solidFill>
              </a:rPr>
              <a:t>x</a:t>
            </a:r>
            <a:endParaRPr lang="en-US" sz="1200" dirty="0">
              <a:solidFill>
                <a:srgbClr val="575757"/>
              </a:solidFill>
            </a:endParaRPr>
          </a:p>
        </p:txBody>
      </p:sp>
      <p:sp>
        <p:nvSpPr>
          <p:cNvPr id="9" name="Rectangle 8">
            <a:extLst>
              <a:ext uri="{FF2B5EF4-FFF2-40B4-BE49-F238E27FC236}">
                <a16:creationId xmlns:a16="http://schemas.microsoft.com/office/drawing/2014/main" id="{B63A96B6-D3F8-2ACC-7843-781E7E91C331}"/>
              </a:ext>
            </a:extLst>
          </p:cNvPr>
          <p:cNvSpPr/>
          <p:nvPr/>
        </p:nvSpPr>
        <p:spPr>
          <a:xfrm>
            <a:off x="630000" y="5909190"/>
            <a:ext cx="5013716" cy="796413"/>
          </a:xfrm>
          <a:prstGeom prst="rect">
            <a:avLst/>
          </a:prstGeom>
          <a:solidFill>
            <a:srgbClr val="F2F2F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0" name="bcgBugsWhite_House">
            <a:extLst>
              <a:ext uri="{FF2B5EF4-FFF2-40B4-BE49-F238E27FC236}">
                <a16:creationId xmlns:a16="http://schemas.microsoft.com/office/drawing/2014/main" id="{3E35089A-1D09-8695-8236-4120041D681A}"/>
              </a:ext>
            </a:extLst>
          </p:cNvPr>
          <p:cNvGrpSpPr>
            <a:grpSpLocks noChangeAspect="1"/>
          </p:cNvGrpSpPr>
          <p:nvPr/>
        </p:nvGrpSpPr>
        <p:grpSpPr bwMode="auto">
          <a:xfrm>
            <a:off x="1258530" y="6026759"/>
            <a:ext cx="407639" cy="408038"/>
            <a:chOff x="2818" y="1137"/>
            <a:chExt cx="2044" cy="2046"/>
          </a:xfrm>
        </p:grpSpPr>
        <p:sp>
          <p:nvSpPr>
            <p:cNvPr id="11" name="AutoShape 3">
              <a:extLst>
                <a:ext uri="{FF2B5EF4-FFF2-40B4-BE49-F238E27FC236}">
                  <a16:creationId xmlns:a16="http://schemas.microsoft.com/office/drawing/2014/main" id="{96821208-A379-B5B0-75AC-850E32F94D85}"/>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9">
              <a:extLst>
                <a:ext uri="{FF2B5EF4-FFF2-40B4-BE49-F238E27FC236}">
                  <a16:creationId xmlns:a16="http://schemas.microsoft.com/office/drawing/2014/main" id="{BB4682D1-5C2E-301D-FD00-3FA3A7BD1402}"/>
                </a:ext>
              </a:extLst>
            </p:cNvPr>
            <p:cNvSpPr>
              <a:spLocks noEditPoints="1"/>
            </p:cNvSpPr>
            <p:nvPr/>
          </p:nvSpPr>
          <p:spPr bwMode="auto">
            <a:xfrm>
              <a:off x="2978" y="1258"/>
              <a:ext cx="1726" cy="1804"/>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 name="TextBox 12">
            <a:extLst>
              <a:ext uri="{FF2B5EF4-FFF2-40B4-BE49-F238E27FC236}">
                <a16:creationId xmlns:a16="http://schemas.microsoft.com/office/drawing/2014/main" id="{3FDC9F91-5CC6-3B3A-30BA-33067CEA6758}"/>
              </a:ext>
            </a:extLst>
          </p:cNvPr>
          <p:cNvSpPr txBox="1"/>
          <p:nvPr/>
        </p:nvSpPr>
        <p:spPr>
          <a:xfrm>
            <a:off x="1052052" y="6434797"/>
            <a:ext cx="808480" cy="2708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chemeClr val="bg1">
                    <a:lumMod val="65000"/>
                  </a:schemeClr>
                </a:solidFill>
              </a:rPr>
              <a:t>首页</a:t>
            </a:r>
            <a:endParaRPr lang="en-US" sz="1200" dirty="0" err="1">
              <a:solidFill>
                <a:schemeClr val="bg1">
                  <a:lumMod val="65000"/>
                </a:schemeClr>
              </a:solidFill>
            </a:endParaRPr>
          </a:p>
        </p:txBody>
      </p:sp>
      <p:sp>
        <p:nvSpPr>
          <p:cNvPr id="14" name="TextBox 13">
            <a:extLst>
              <a:ext uri="{FF2B5EF4-FFF2-40B4-BE49-F238E27FC236}">
                <a16:creationId xmlns:a16="http://schemas.microsoft.com/office/drawing/2014/main" id="{010D328F-69BC-C77E-17B6-F9B14EB4947E}"/>
              </a:ext>
            </a:extLst>
          </p:cNvPr>
          <p:cNvSpPr txBox="1"/>
          <p:nvPr/>
        </p:nvSpPr>
        <p:spPr>
          <a:xfrm>
            <a:off x="2712586" y="6434797"/>
            <a:ext cx="808480" cy="2708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chemeClr val="bg1">
                    <a:lumMod val="65000"/>
                  </a:schemeClr>
                </a:solidFill>
              </a:rPr>
              <a:t>组织</a:t>
            </a:r>
            <a:endParaRPr lang="en-US" sz="1200" dirty="0" err="1">
              <a:solidFill>
                <a:schemeClr val="bg1">
                  <a:lumMod val="65000"/>
                </a:schemeClr>
              </a:solidFill>
            </a:endParaRPr>
          </a:p>
        </p:txBody>
      </p:sp>
      <p:sp>
        <p:nvSpPr>
          <p:cNvPr id="15" name="TextBox 14">
            <a:extLst>
              <a:ext uri="{FF2B5EF4-FFF2-40B4-BE49-F238E27FC236}">
                <a16:creationId xmlns:a16="http://schemas.microsoft.com/office/drawing/2014/main" id="{D90EEB2E-29D2-56EF-7CCB-8E5DDD821046}"/>
              </a:ext>
            </a:extLst>
          </p:cNvPr>
          <p:cNvSpPr txBox="1"/>
          <p:nvPr/>
        </p:nvSpPr>
        <p:spPr>
          <a:xfrm>
            <a:off x="4373120" y="6434797"/>
            <a:ext cx="808480" cy="2708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rgbClr val="29BA74"/>
                </a:solidFill>
              </a:rPr>
              <a:t>我的</a:t>
            </a:r>
            <a:endParaRPr lang="en-US" sz="1200" dirty="0" err="1">
              <a:solidFill>
                <a:srgbClr val="29BA74"/>
              </a:solidFill>
            </a:endParaRPr>
          </a:p>
        </p:txBody>
      </p:sp>
      <p:grpSp>
        <p:nvGrpSpPr>
          <p:cNvPr id="16" name="bcgBugs_Gender-neutral Front ">
            <a:extLst>
              <a:ext uri="{FF2B5EF4-FFF2-40B4-BE49-F238E27FC236}">
                <a16:creationId xmlns:a16="http://schemas.microsoft.com/office/drawing/2014/main" id="{59120C2B-8FAB-BDB9-C7E0-1322487EFB47}"/>
              </a:ext>
            </a:extLst>
          </p:cNvPr>
          <p:cNvGrpSpPr>
            <a:grpSpLocks noChangeAspect="1"/>
          </p:cNvGrpSpPr>
          <p:nvPr/>
        </p:nvGrpSpPr>
        <p:grpSpPr bwMode="auto">
          <a:xfrm>
            <a:off x="4548760" y="6026759"/>
            <a:ext cx="457200" cy="457200"/>
            <a:chOff x="2652" y="972"/>
            <a:chExt cx="2376" cy="2376"/>
          </a:xfrm>
        </p:grpSpPr>
        <p:sp>
          <p:nvSpPr>
            <p:cNvPr id="17" name="AutoShape 3">
              <a:extLst>
                <a:ext uri="{FF2B5EF4-FFF2-40B4-BE49-F238E27FC236}">
                  <a16:creationId xmlns:a16="http://schemas.microsoft.com/office/drawing/2014/main" id="{0CC77622-C2D5-C412-0E7B-6D71D4A74AF6}"/>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5">
              <a:extLst>
                <a:ext uri="{FF2B5EF4-FFF2-40B4-BE49-F238E27FC236}">
                  <a16:creationId xmlns:a16="http://schemas.microsoft.com/office/drawing/2014/main" id="{6A089522-640A-35F1-AB21-CD31009E6CBA}"/>
                </a:ext>
              </a:extLst>
            </p:cNvPr>
            <p:cNvSpPr>
              <a:spLocks noEditPoints="1"/>
            </p:cNvSpPr>
            <p:nvPr/>
          </p:nvSpPr>
          <p:spPr bwMode="auto">
            <a:xfrm>
              <a:off x="2795" y="1181"/>
              <a:ext cx="2093" cy="1960"/>
            </a:xfrm>
            <a:custGeom>
              <a:avLst/>
              <a:gdLst>
                <a:gd name="T0" fmla="*/ 241 w 880"/>
                <a:gd name="T1" fmla="*/ 408 h 824"/>
                <a:gd name="T2" fmla="*/ 311 w 880"/>
                <a:gd name="T3" fmla="*/ 556 h 824"/>
                <a:gd name="T4" fmla="*/ 311 w 880"/>
                <a:gd name="T5" fmla="*/ 604 h 824"/>
                <a:gd name="T6" fmla="*/ 315 w 880"/>
                <a:gd name="T7" fmla="*/ 609 h 824"/>
                <a:gd name="T8" fmla="*/ 333 w 880"/>
                <a:gd name="T9" fmla="*/ 628 h 824"/>
                <a:gd name="T10" fmla="*/ 333 w 880"/>
                <a:gd name="T11" fmla="*/ 575 h 824"/>
                <a:gd name="T12" fmla="*/ 440 w 880"/>
                <a:gd name="T13" fmla="*/ 622 h 824"/>
                <a:gd name="T14" fmla="*/ 547 w 880"/>
                <a:gd name="T15" fmla="*/ 575 h 824"/>
                <a:gd name="T16" fmla="*/ 547 w 880"/>
                <a:gd name="T17" fmla="*/ 628 h 824"/>
                <a:gd name="T18" fmla="*/ 565 w 880"/>
                <a:gd name="T19" fmla="*/ 609 h 824"/>
                <a:gd name="T20" fmla="*/ 569 w 880"/>
                <a:gd name="T21" fmla="*/ 604 h 824"/>
                <a:gd name="T22" fmla="*/ 569 w 880"/>
                <a:gd name="T23" fmla="*/ 556 h 824"/>
                <a:gd name="T24" fmla="*/ 639 w 880"/>
                <a:gd name="T25" fmla="*/ 408 h 824"/>
                <a:gd name="T26" fmla="*/ 673 w 880"/>
                <a:gd name="T27" fmla="*/ 355 h 824"/>
                <a:gd name="T28" fmla="*/ 673 w 880"/>
                <a:gd name="T29" fmla="*/ 353 h 824"/>
                <a:gd name="T30" fmla="*/ 648 w 880"/>
                <a:gd name="T31" fmla="*/ 365 h 824"/>
                <a:gd name="T32" fmla="*/ 625 w 880"/>
                <a:gd name="T33" fmla="*/ 391 h 824"/>
                <a:gd name="T34" fmla="*/ 620 w 880"/>
                <a:gd name="T35" fmla="*/ 397 h 824"/>
                <a:gd name="T36" fmla="*/ 550 w 880"/>
                <a:gd name="T37" fmla="*/ 545 h 824"/>
                <a:gd name="T38" fmla="*/ 440 w 880"/>
                <a:gd name="T39" fmla="*/ 601 h 824"/>
                <a:gd name="T40" fmla="*/ 330 w 880"/>
                <a:gd name="T41" fmla="*/ 545 h 824"/>
                <a:gd name="T42" fmla="*/ 260 w 880"/>
                <a:gd name="T43" fmla="*/ 397 h 824"/>
                <a:gd name="T44" fmla="*/ 255 w 880"/>
                <a:gd name="T45" fmla="*/ 391 h 824"/>
                <a:gd name="T46" fmla="*/ 232 w 880"/>
                <a:gd name="T47" fmla="*/ 365 h 824"/>
                <a:gd name="T48" fmla="*/ 207 w 880"/>
                <a:gd name="T49" fmla="*/ 353 h 824"/>
                <a:gd name="T50" fmla="*/ 207 w 880"/>
                <a:gd name="T51" fmla="*/ 356 h 824"/>
                <a:gd name="T52" fmla="*/ 241 w 880"/>
                <a:gd name="T53" fmla="*/ 408 h 824"/>
                <a:gd name="T54" fmla="*/ 877 w 880"/>
                <a:gd name="T55" fmla="*/ 809 h 824"/>
                <a:gd name="T56" fmla="*/ 771 w 880"/>
                <a:gd name="T57" fmla="*/ 654 h 824"/>
                <a:gd name="T58" fmla="*/ 582 w 880"/>
                <a:gd name="T59" fmla="*/ 622 h 824"/>
                <a:gd name="T60" fmla="*/ 569 w 880"/>
                <a:gd name="T61" fmla="*/ 637 h 824"/>
                <a:gd name="T62" fmla="*/ 567 w 880"/>
                <a:gd name="T63" fmla="*/ 639 h 824"/>
                <a:gd name="T64" fmla="*/ 440 w 880"/>
                <a:gd name="T65" fmla="*/ 690 h 824"/>
                <a:gd name="T66" fmla="*/ 313 w 880"/>
                <a:gd name="T67" fmla="*/ 639 h 824"/>
                <a:gd name="T68" fmla="*/ 311 w 880"/>
                <a:gd name="T69" fmla="*/ 637 h 824"/>
                <a:gd name="T70" fmla="*/ 298 w 880"/>
                <a:gd name="T71" fmla="*/ 622 h 824"/>
                <a:gd name="T72" fmla="*/ 109 w 880"/>
                <a:gd name="T73" fmla="*/ 654 h 824"/>
                <a:gd name="T74" fmla="*/ 3 w 880"/>
                <a:gd name="T75" fmla="*/ 809 h 824"/>
                <a:gd name="T76" fmla="*/ 13 w 880"/>
                <a:gd name="T77" fmla="*/ 824 h 824"/>
                <a:gd name="T78" fmla="*/ 867 w 880"/>
                <a:gd name="T79" fmla="*/ 824 h 824"/>
                <a:gd name="T80" fmla="*/ 877 w 880"/>
                <a:gd name="T81" fmla="*/ 809 h 824"/>
                <a:gd name="T82" fmla="*/ 315 w 880"/>
                <a:gd name="T83" fmla="*/ 200 h 824"/>
                <a:gd name="T84" fmla="*/ 328 w 880"/>
                <a:gd name="T85" fmla="*/ 192 h 824"/>
                <a:gd name="T86" fmla="*/ 350 w 880"/>
                <a:gd name="T87" fmla="*/ 186 h 824"/>
                <a:gd name="T88" fmla="*/ 618 w 880"/>
                <a:gd name="T89" fmla="*/ 354 h 824"/>
                <a:gd name="T90" fmla="*/ 651 w 880"/>
                <a:gd name="T91" fmla="*/ 353 h 824"/>
                <a:gd name="T92" fmla="*/ 656 w 880"/>
                <a:gd name="T93" fmla="*/ 351 h 824"/>
                <a:gd name="T94" fmla="*/ 666 w 880"/>
                <a:gd name="T95" fmla="*/ 347 h 824"/>
                <a:gd name="T96" fmla="*/ 672 w 880"/>
                <a:gd name="T97" fmla="*/ 344 h 824"/>
                <a:gd name="T98" fmla="*/ 688 w 880"/>
                <a:gd name="T99" fmla="*/ 333 h 824"/>
                <a:gd name="T100" fmla="*/ 672 w 880"/>
                <a:gd name="T101" fmla="*/ 282 h 824"/>
                <a:gd name="T102" fmla="*/ 673 w 880"/>
                <a:gd name="T103" fmla="*/ 237 h 824"/>
                <a:gd name="T104" fmla="*/ 442 w 880"/>
                <a:gd name="T105" fmla="*/ 0 h 824"/>
                <a:gd name="T106" fmla="*/ 211 w 880"/>
                <a:gd name="T107" fmla="*/ 237 h 824"/>
                <a:gd name="T108" fmla="*/ 224 w 880"/>
                <a:gd name="T109" fmla="*/ 335 h 824"/>
                <a:gd name="T110" fmla="*/ 315 w 880"/>
                <a:gd name="T111" fmla="*/ 20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0" h="824">
                  <a:moveTo>
                    <a:pt x="241" y="408"/>
                  </a:moveTo>
                  <a:cubicBezTo>
                    <a:pt x="252" y="436"/>
                    <a:pt x="289" y="529"/>
                    <a:pt x="311" y="556"/>
                  </a:cubicBezTo>
                  <a:cubicBezTo>
                    <a:pt x="311" y="604"/>
                    <a:pt x="311" y="604"/>
                    <a:pt x="311" y="604"/>
                  </a:cubicBezTo>
                  <a:cubicBezTo>
                    <a:pt x="315" y="609"/>
                    <a:pt x="315" y="609"/>
                    <a:pt x="315" y="609"/>
                  </a:cubicBezTo>
                  <a:cubicBezTo>
                    <a:pt x="316" y="610"/>
                    <a:pt x="321" y="618"/>
                    <a:pt x="333" y="628"/>
                  </a:cubicBezTo>
                  <a:cubicBezTo>
                    <a:pt x="333" y="575"/>
                    <a:pt x="333" y="575"/>
                    <a:pt x="333" y="575"/>
                  </a:cubicBezTo>
                  <a:cubicBezTo>
                    <a:pt x="361" y="596"/>
                    <a:pt x="408" y="622"/>
                    <a:pt x="440" y="622"/>
                  </a:cubicBezTo>
                  <a:cubicBezTo>
                    <a:pt x="472" y="622"/>
                    <a:pt x="519" y="596"/>
                    <a:pt x="547" y="575"/>
                  </a:cubicBezTo>
                  <a:cubicBezTo>
                    <a:pt x="547" y="628"/>
                    <a:pt x="547" y="628"/>
                    <a:pt x="547" y="628"/>
                  </a:cubicBezTo>
                  <a:cubicBezTo>
                    <a:pt x="559" y="618"/>
                    <a:pt x="564" y="610"/>
                    <a:pt x="565" y="609"/>
                  </a:cubicBezTo>
                  <a:cubicBezTo>
                    <a:pt x="569" y="604"/>
                    <a:pt x="569" y="604"/>
                    <a:pt x="569" y="604"/>
                  </a:cubicBezTo>
                  <a:cubicBezTo>
                    <a:pt x="569" y="556"/>
                    <a:pt x="569" y="556"/>
                    <a:pt x="569" y="556"/>
                  </a:cubicBezTo>
                  <a:cubicBezTo>
                    <a:pt x="591" y="529"/>
                    <a:pt x="628" y="436"/>
                    <a:pt x="639" y="408"/>
                  </a:cubicBezTo>
                  <a:cubicBezTo>
                    <a:pt x="664" y="393"/>
                    <a:pt x="671" y="366"/>
                    <a:pt x="673" y="355"/>
                  </a:cubicBezTo>
                  <a:cubicBezTo>
                    <a:pt x="673" y="353"/>
                    <a:pt x="673" y="353"/>
                    <a:pt x="673" y="353"/>
                  </a:cubicBezTo>
                  <a:cubicBezTo>
                    <a:pt x="648" y="365"/>
                    <a:pt x="648" y="365"/>
                    <a:pt x="648" y="365"/>
                  </a:cubicBezTo>
                  <a:cubicBezTo>
                    <a:pt x="644" y="375"/>
                    <a:pt x="638" y="385"/>
                    <a:pt x="625" y="391"/>
                  </a:cubicBezTo>
                  <a:cubicBezTo>
                    <a:pt x="623" y="392"/>
                    <a:pt x="621" y="394"/>
                    <a:pt x="620" y="397"/>
                  </a:cubicBezTo>
                  <a:cubicBezTo>
                    <a:pt x="600" y="447"/>
                    <a:pt x="564" y="532"/>
                    <a:pt x="550" y="545"/>
                  </a:cubicBezTo>
                  <a:cubicBezTo>
                    <a:pt x="528" y="564"/>
                    <a:pt x="471" y="601"/>
                    <a:pt x="440" y="601"/>
                  </a:cubicBezTo>
                  <a:cubicBezTo>
                    <a:pt x="408" y="601"/>
                    <a:pt x="352" y="564"/>
                    <a:pt x="330" y="545"/>
                  </a:cubicBezTo>
                  <a:cubicBezTo>
                    <a:pt x="316" y="532"/>
                    <a:pt x="280" y="447"/>
                    <a:pt x="260" y="397"/>
                  </a:cubicBezTo>
                  <a:cubicBezTo>
                    <a:pt x="259" y="394"/>
                    <a:pt x="257" y="392"/>
                    <a:pt x="255" y="391"/>
                  </a:cubicBezTo>
                  <a:cubicBezTo>
                    <a:pt x="242" y="385"/>
                    <a:pt x="236" y="374"/>
                    <a:pt x="232" y="365"/>
                  </a:cubicBezTo>
                  <a:cubicBezTo>
                    <a:pt x="207" y="353"/>
                    <a:pt x="207" y="353"/>
                    <a:pt x="207" y="353"/>
                  </a:cubicBezTo>
                  <a:cubicBezTo>
                    <a:pt x="207" y="356"/>
                    <a:pt x="207" y="356"/>
                    <a:pt x="207" y="356"/>
                  </a:cubicBezTo>
                  <a:cubicBezTo>
                    <a:pt x="210" y="369"/>
                    <a:pt x="217" y="394"/>
                    <a:pt x="241" y="408"/>
                  </a:cubicBezTo>
                  <a:close/>
                  <a:moveTo>
                    <a:pt x="877" y="809"/>
                  </a:moveTo>
                  <a:cubicBezTo>
                    <a:pt x="864" y="773"/>
                    <a:pt x="825" y="678"/>
                    <a:pt x="771" y="654"/>
                  </a:cubicBezTo>
                  <a:cubicBezTo>
                    <a:pt x="705" y="623"/>
                    <a:pt x="582" y="622"/>
                    <a:pt x="582" y="622"/>
                  </a:cubicBezTo>
                  <a:cubicBezTo>
                    <a:pt x="582" y="622"/>
                    <a:pt x="578" y="628"/>
                    <a:pt x="569" y="637"/>
                  </a:cubicBezTo>
                  <a:cubicBezTo>
                    <a:pt x="568" y="638"/>
                    <a:pt x="567" y="638"/>
                    <a:pt x="567" y="639"/>
                  </a:cubicBezTo>
                  <a:cubicBezTo>
                    <a:pt x="545" y="659"/>
                    <a:pt x="503" y="689"/>
                    <a:pt x="440" y="690"/>
                  </a:cubicBezTo>
                  <a:cubicBezTo>
                    <a:pt x="377" y="689"/>
                    <a:pt x="335" y="659"/>
                    <a:pt x="313" y="639"/>
                  </a:cubicBezTo>
                  <a:cubicBezTo>
                    <a:pt x="313" y="638"/>
                    <a:pt x="312" y="638"/>
                    <a:pt x="311" y="637"/>
                  </a:cubicBezTo>
                  <a:cubicBezTo>
                    <a:pt x="302" y="628"/>
                    <a:pt x="298" y="622"/>
                    <a:pt x="298" y="622"/>
                  </a:cubicBezTo>
                  <a:cubicBezTo>
                    <a:pt x="298" y="622"/>
                    <a:pt x="175" y="623"/>
                    <a:pt x="109" y="654"/>
                  </a:cubicBezTo>
                  <a:cubicBezTo>
                    <a:pt x="55" y="678"/>
                    <a:pt x="16" y="773"/>
                    <a:pt x="3" y="809"/>
                  </a:cubicBezTo>
                  <a:cubicBezTo>
                    <a:pt x="0" y="816"/>
                    <a:pt x="5" y="824"/>
                    <a:pt x="13" y="824"/>
                  </a:cubicBezTo>
                  <a:cubicBezTo>
                    <a:pt x="867" y="824"/>
                    <a:pt x="867" y="824"/>
                    <a:pt x="867" y="824"/>
                  </a:cubicBezTo>
                  <a:cubicBezTo>
                    <a:pt x="875" y="824"/>
                    <a:pt x="880" y="816"/>
                    <a:pt x="877" y="809"/>
                  </a:cubicBezTo>
                  <a:close/>
                  <a:moveTo>
                    <a:pt x="315" y="200"/>
                  </a:moveTo>
                  <a:cubicBezTo>
                    <a:pt x="318" y="197"/>
                    <a:pt x="323" y="194"/>
                    <a:pt x="328" y="192"/>
                  </a:cubicBezTo>
                  <a:cubicBezTo>
                    <a:pt x="335" y="188"/>
                    <a:pt x="342" y="186"/>
                    <a:pt x="350" y="186"/>
                  </a:cubicBezTo>
                  <a:cubicBezTo>
                    <a:pt x="488" y="194"/>
                    <a:pt x="592" y="340"/>
                    <a:pt x="618" y="354"/>
                  </a:cubicBezTo>
                  <a:cubicBezTo>
                    <a:pt x="627" y="360"/>
                    <a:pt x="639" y="358"/>
                    <a:pt x="651" y="353"/>
                  </a:cubicBezTo>
                  <a:cubicBezTo>
                    <a:pt x="653" y="353"/>
                    <a:pt x="655" y="352"/>
                    <a:pt x="656" y="351"/>
                  </a:cubicBezTo>
                  <a:cubicBezTo>
                    <a:pt x="666" y="347"/>
                    <a:pt x="666" y="347"/>
                    <a:pt x="666" y="347"/>
                  </a:cubicBezTo>
                  <a:cubicBezTo>
                    <a:pt x="668" y="346"/>
                    <a:pt x="670" y="345"/>
                    <a:pt x="672" y="344"/>
                  </a:cubicBezTo>
                  <a:cubicBezTo>
                    <a:pt x="682" y="338"/>
                    <a:pt x="688" y="333"/>
                    <a:pt x="688" y="333"/>
                  </a:cubicBezTo>
                  <a:cubicBezTo>
                    <a:pt x="675" y="313"/>
                    <a:pt x="671" y="295"/>
                    <a:pt x="672" y="282"/>
                  </a:cubicBezTo>
                  <a:cubicBezTo>
                    <a:pt x="674" y="268"/>
                    <a:pt x="673" y="252"/>
                    <a:pt x="673" y="237"/>
                  </a:cubicBezTo>
                  <a:cubicBezTo>
                    <a:pt x="673" y="106"/>
                    <a:pt x="573" y="0"/>
                    <a:pt x="442" y="0"/>
                  </a:cubicBezTo>
                  <a:cubicBezTo>
                    <a:pt x="312" y="0"/>
                    <a:pt x="211" y="106"/>
                    <a:pt x="211" y="237"/>
                  </a:cubicBezTo>
                  <a:cubicBezTo>
                    <a:pt x="211" y="266"/>
                    <a:pt x="216" y="324"/>
                    <a:pt x="224" y="335"/>
                  </a:cubicBezTo>
                  <a:cubicBezTo>
                    <a:pt x="247" y="356"/>
                    <a:pt x="250" y="244"/>
                    <a:pt x="315" y="2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 name="bcgIconsWhite_Contacts ">
            <a:extLst>
              <a:ext uri="{FF2B5EF4-FFF2-40B4-BE49-F238E27FC236}">
                <a16:creationId xmlns:a16="http://schemas.microsoft.com/office/drawing/2014/main" id="{795180B4-3F7B-7C01-E086-64894038CFEC}"/>
              </a:ext>
            </a:extLst>
          </p:cNvPr>
          <p:cNvGrpSpPr>
            <a:grpSpLocks noChangeAspect="1"/>
          </p:cNvGrpSpPr>
          <p:nvPr/>
        </p:nvGrpSpPr>
        <p:grpSpPr>
          <a:xfrm>
            <a:off x="2888006" y="6026759"/>
            <a:ext cx="457641" cy="457200"/>
            <a:chOff x="5273675" y="2606675"/>
            <a:chExt cx="1646238" cy="1644650"/>
          </a:xfrm>
        </p:grpSpPr>
        <p:sp>
          <p:nvSpPr>
            <p:cNvPr id="20" name="AutoShape 3">
              <a:extLst>
                <a:ext uri="{FF2B5EF4-FFF2-40B4-BE49-F238E27FC236}">
                  <a16:creationId xmlns:a16="http://schemas.microsoft.com/office/drawing/2014/main" id="{B0162B57-220A-5B1A-D197-CE5A5330C863}"/>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a:extLst>
                <a:ext uri="{FF2B5EF4-FFF2-40B4-BE49-F238E27FC236}">
                  <a16:creationId xmlns:a16="http://schemas.microsoft.com/office/drawing/2014/main" id="{1CB2AC66-E0C4-5759-5DDD-7418DA001EC4}"/>
                </a:ext>
              </a:extLst>
            </p:cNvPr>
            <p:cNvSpPr>
              <a:spLocks/>
            </p:cNvSpPr>
            <p:nvPr/>
          </p:nvSpPr>
          <p:spPr bwMode="auto">
            <a:xfrm>
              <a:off x="5578475" y="2889250"/>
              <a:ext cx="968375" cy="1192213"/>
            </a:xfrm>
            <a:custGeom>
              <a:avLst/>
              <a:gdLst>
                <a:gd name="connsiteX0" fmla="*/ 7161 w 968375"/>
                <a:gd name="connsiteY0" fmla="*/ 931863 h 1192213"/>
                <a:gd name="connsiteX1" fmla="*/ 69458 w 968375"/>
                <a:gd name="connsiteY1" fmla="*/ 931863 h 1192213"/>
                <a:gd name="connsiteX2" fmla="*/ 84496 w 968375"/>
                <a:gd name="connsiteY2" fmla="*/ 931863 h 1192213"/>
                <a:gd name="connsiteX3" fmla="*/ 100249 w 968375"/>
                <a:gd name="connsiteY3" fmla="*/ 931863 h 1192213"/>
                <a:gd name="connsiteX4" fmla="*/ 100965 w 968375"/>
                <a:gd name="connsiteY4" fmla="*/ 931863 h 1192213"/>
                <a:gd name="connsiteX5" fmla="*/ 116003 w 968375"/>
                <a:gd name="connsiteY5" fmla="*/ 931863 h 1192213"/>
                <a:gd name="connsiteX6" fmla="*/ 132472 w 968375"/>
                <a:gd name="connsiteY6" fmla="*/ 931863 h 1192213"/>
                <a:gd name="connsiteX7" fmla="*/ 161115 w 968375"/>
                <a:gd name="connsiteY7" fmla="*/ 931863 h 1192213"/>
                <a:gd name="connsiteX8" fmla="*/ 168275 w 968375"/>
                <a:gd name="connsiteY8" fmla="*/ 939022 h 1192213"/>
                <a:gd name="connsiteX9" fmla="*/ 168275 w 968375"/>
                <a:gd name="connsiteY9" fmla="*/ 1034242 h 1192213"/>
                <a:gd name="connsiteX10" fmla="*/ 161115 w 968375"/>
                <a:gd name="connsiteY10" fmla="*/ 1041401 h 1192213"/>
                <a:gd name="connsiteX11" fmla="*/ 132472 w 968375"/>
                <a:gd name="connsiteY11" fmla="*/ 1041401 h 1192213"/>
                <a:gd name="connsiteX12" fmla="*/ 116003 w 968375"/>
                <a:gd name="connsiteY12" fmla="*/ 1041401 h 1192213"/>
                <a:gd name="connsiteX13" fmla="*/ 100965 w 968375"/>
                <a:gd name="connsiteY13" fmla="*/ 1041401 h 1192213"/>
                <a:gd name="connsiteX14" fmla="*/ 100249 w 968375"/>
                <a:gd name="connsiteY14" fmla="*/ 1041401 h 1192213"/>
                <a:gd name="connsiteX15" fmla="*/ 84496 w 968375"/>
                <a:gd name="connsiteY15" fmla="*/ 1041401 h 1192213"/>
                <a:gd name="connsiteX16" fmla="*/ 69458 w 968375"/>
                <a:gd name="connsiteY16" fmla="*/ 1041401 h 1192213"/>
                <a:gd name="connsiteX17" fmla="*/ 7161 w 968375"/>
                <a:gd name="connsiteY17" fmla="*/ 1041401 h 1192213"/>
                <a:gd name="connsiteX18" fmla="*/ 0 w 968375"/>
                <a:gd name="connsiteY18" fmla="*/ 1034242 h 1192213"/>
                <a:gd name="connsiteX19" fmla="*/ 0 w 968375"/>
                <a:gd name="connsiteY19" fmla="*/ 939022 h 1192213"/>
                <a:gd name="connsiteX20" fmla="*/ 7161 w 968375"/>
                <a:gd name="connsiteY20" fmla="*/ 931863 h 1192213"/>
                <a:gd name="connsiteX21" fmla="*/ 69850 w 968375"/>
                <a:gd name="connsiteY21" fmla="*/ 811213 h 1192213"/>
                <a:gd name="connsiteX22" fmla="*/ 84138 w 968375"/>
                <a:gd name="connsiteY22" fmla="*/ 811213 h 1192213"/>
                <a:gd name="connsiteX23" fmla="*/ 100013 w 968375"/>
                <a:gd name="connsiteY23" fmla="*/ 811213 h 1192213"/>
                <a:gd name="connsiteX24" fmla="*/ 101600 w 968375"/>
                <a:gd name="connsiteY24" fmla="*/ 811213 h 1192213"/>
                <a:gd name="connsiteX25" fmla="*/ 101600 w 968375"/>
                <a:gd name="connsiteY25" fmla="*/ 900113 h 1192213"/>
                <a:gd name="connsiteX26" fmla="*/ 100013 w 968375"/>
                <a:gd name="connsiteY26" fmla="*/ 900113 h 1192213"/>
                <a:gd name="connsiteX27" fmla="*/ 84138 w 968375"/>
                <a:gd name="connsiteY27" fmla="*/ 900113 h 1192213"/>
                <a:gd name="connsiteX28" fmla="*/ 69850 w 968375"/>
                <a:gd name="connsiteY28" fmla="*/ 900113 h 1192213"/>
                <a:gd name="connsiteX29" fmla="*/ 7161 w 968375"/>
                <a:gd name="connsiteY29" fmla="*/ 671513 h 1192213"/>
                <a:gd name="connsiteX30" fmla="*/ 69458 w 968375"/>
                <a:gd name="connsiteY30" fmla="*/ 671513 h 1192213"/>
                <a:gd name="connsiteX31" fmla="*/ 84496 w 968375"/>
                <a:gd name="connsiteY31" fmla="*/ 671513 h 1192213"/>
                <a:gd name="connsiteX32" fmla="*/ 100249 w 968375"/>
                <a:gd name="connsiteY32" fmla="*/ 671513 h 1192213"/>
                <a:gd name="connsiteX33" fmla="*/ 100965 w 968375"/>
                <a:gd name="connsiteY33" fmla="*/ 671513 h 1192213"/>
                <a:gd name="connsiteX34" fmla="*/ 116003 w 968375"/>
                <a:gd name="connsiteY34" fmla="*/ 671513 h 1192213"/>
                <a:gd name="connsiteX35" fmla="*/ 132472 w 968375"/>
                <a:gd name="connsiteY35" fmla="*/ 671513 h 1192213"/>
                <a:gd name="connsiteX36" fmla="*/ 161115 w 968375"/>
                <a:gd name="connsiteY36" fmla="*/ 671513 h 1192213"/>
                <a:gd name="connsiteX37" fmla="*/ 168275 w 968375"/>
                <a:gd name="connsiteY37" fmla="*/ 678672 h 1192213"/>
                <a:gd name="connsiteX38" fmla="*/ 168275 w 968375"/>
                <a:gd name="connsiteY38" fmla="*/ 773892 h 1192213"/>
                <a:gd name="connsiteX39" fmla="*/ 161115 w 968375"/>
                <a:gd name="connsiteY39" fmla="*/ 781051 h 1192213"/>
                <a:gd name="connsiteX40" fmla="*/ 132472 w 968375"/>
                <a:gd name="connsiteY40" fmla="*/ 781051 h 1192213"/>
                <a:gd name="connsiteX41" fmla="*/ 116003 w 968375"/>
                <a:gd name="connsiteY41" fmla="*/ 781051 h 1192213"/>
                <a:gd name="connsiteX42" fmla="*/ 100965 w 968375"/>
                <a:gd name="connsiteY42" fmla="*/ 781051 h 1192213"/>
                <a:gd name="connsiteX43" fmla="*/ 100249 w 968375"/>
                <a:gd name="connsiteY43" fmla="*/ 781051 h 1192213"/>
                <a:gd name="connsiteX44" fmla="*/ 84496 w 968375"/>
                <a:gd name="connsiteY44" fmla="*/ 781051 h 1192213"/>
                <a:gd name="connsiteX45" fmla="*/ 69458 w 968375"/>
                <a:gd name="connsiteY45" fmla="*/ 781051 h 1192213"/>
                <a:gd name="connsiteX46" fmla="*/ 7161 w 968375"/>
                <a:gd name="connsiteY46" fmla="*/ 781051 h 1192213"/>
                <a:gd name="connsiteX47" fmla="*/ 0 w 968375"/>
                <a:gd name="connsiteY47" fmla="*/ 773892 h 1192213"/>
                <a:gd name="connsiteX48" fmla="*/ 0 w 968375"/>
                <a:gd name="connsiteY48" fmla="*/ 678672 h 1192213"/>
                <a:gd name="connsiteX49" fmla="*/ 7161 w 968375"/>
                <a:gd name="connsiteY49" fmla="*/ 671513 h 1192213"/>
                <a:gd name="connsiteX50" fmla="*/ 69850 w 968375"/>
                <a:gd name="connsiteY50" fmla="*/ 550863 h 1192213"/>
                <a:gd name="connsiteX51" fmla="*/ 84138 w 968375"/>
                <a:gd name="connsiteY51" fmla="*/ 550863 h 1192213"/>
                <a:gd name="connsiteX52" fmla="*/ 100013 w 968375"/>
                <a:gd name="connsiteY52" fmla="*/ 550863 h 1192213"/>
                <a:gd name="connsiteX53" fmla="*/ 101600 w 968375"/>
                <a:gd name="connsiteY53" fmla="*/ 550863 h 1192213"/>
                <a:gd name="connsiteX54" fmla="*/ 101600 w 968375"/>
                <a:gd name="connsiteY54" fmla="*/ 639763 h 1192213"/>
                <a:gd name="connsiteX55" fmla="*/ 100013 w 968375"/>
                <a:gd name="connsiteY55" fmla="*/ 639763 h 1192213"/>
                <a:gd name="connsiteX56" fmla="*/ 84138 w 968375"/>
                <a:gd name="connsiteY56" fmla="*/ 639763 h 1192213"/>
                <a:gd name="connsiteX57" fmla="*/ 69850 w 968375"/>
                <a:gd name="connsiteY57" fmla="*/ 639763 h 1192213"/>
                <a:gd name="connsiteX58" fmla="*/ 7161 w 968375"/>
                <a:gd name="connsiteY58" fmla="*/ 411163 h 1192213"/>
                <a:gd name="connsiteX59" fmla="*/ 69458 w 968375"/>
                <a:gd name="connsiteY59" fmla="*/ 411163 h 1192213"/>
                <a:gd name="connsiteX60" fmla="*/ 84496 w 968375"/>
                <a:gd name="connsiteY60" fmla="*/ 411163 h 1192213"/>
                <a:gd name="connsiteX61" fmla="*/ 100249 w 968375"/>
                <a:gd name="connsiteY61" fmla="*/ 411163 h 1192213"/>
                <a:gd name="connsiteX62" fmla="*/ 100965 w 968375"/>
                <a:gd name="connsiteY62" fmla="*/ 411163 h 1192213"/>
                <a:gd name="connsiteX63" fmla="*/ 116003 w 968375"/>
                <a:gd name="connsiteY63" fmla="*/ 411163 h 1192213"/>
                <a:gd name="connsiteX64" fmla="*/ 132472 w 968375"/>
                <a:gd name="connsiteY64" fmla="*/ 411163 h 1192213"/>
                <a:gd name="connsiteX65" fmla="*/ 161115 w 968375"/>
                <a:gd name="connsiteY65" fmla="*/ 411163 h 1192213"/>
                <a:gd name="connsiteX66" fmla="*/ 168275 w 968375"/>
                <a:gd name="connsiteY66" fmla="*/ 418218 h 1192213"/>
                <a:gd name="connsiteX67" fmla="*/ 168275 w 968375"/>
                <a:gd name="connsiteY67" fmla="*/ 512057 h 1192213"/>
                <a:gd name="connsiteX68" fmla="*/ 161115 w 968375"/>
                <a:gd name="connsiteY68" fmla="*/ 519113 h 1192213"/>
                <a:gd name="connsiteX69" fmla="*/ 132472 w 968375"/>
                <a:gd name="connsiteY69" fmla="*/ 519113 h 1192213"/>
                <a:gd name="connsiteX70" fmla="*/ 116003 w 968375"/>
                <a:gd name="connsiteY70" fmla="*/ 519113 h 1192213"/>
                <a:gd name="connsiteX71" fmla="*/ 100965 w 968375"/>
                <a:gd name="connsiteY71" fmla="*/ 519113 h 1192213"/>
                <a:gd name="connsiteX72" fmla="*/ 100249 w 968375"/>
                <a:gd name="connsiteY72" fmla="*/ 519113 h 1192213"/>
                <a:gd name="connsiteX73" fmla="*/ 84496 w 968375"/>
                <a:gd name="connsiteY73" fmla="*/ 519113 h 1192213"/>
                <a:gd name="connsiteX74" fmla="*/ 69458 w 968375"/>
                <a:gd name="connsiteY74" fmla="*/ 519113 h 1192213"/>
                <a:gd name="connsiteX75" fmla="*/ 7161 w 968375"/>
                <a:gd name="connsiteY75" fmla="*/ 519113 h 1192213"/>
                <a:gd name="connsiteX76" fmla="*/ 0 w 968375"/>
                <a:gd name="connsiteY76" fmla="*/ 512057 h 1192213"/>
                <a:gd name="connsiteX77" fmla="*/ 0 w 968375"/>
                <a:gd name="connsiteY77" fmla="*/ 418218 h 1192213"/>
                <a:gd name="connsiteX78" fmla="*/ 7161 w 968375"/>
                <a:gd name="connsiteY78" fmla="*/ 411163 h 1192213"/>
                <a:gd name="connsiteX79" fmla="*/ 599481 w 968375"/>
                <a:gd name="connsiteY79" fmla="*/ 377825 h 1192213"/>
                <a:gd name="connsiteX80" fmla="*/ 439365 w 968375"/>
                <a:gd name="connsiteY80" fmla="*/ 480546 h 1192213"/>
                <a:gd name="connsiteX81" fmla="*/ 496549 w 968375"/>
                <a:gd name="connsiteY81" fmla="*/ 682421 h 1192213"/>
                <a:gd name="connsiteX82" fmla="*/ 496549 w 968375"/>
                <a:gd name="connsiteY82" fmla="*/ 778721 h 1192213"/>
                <a:gd name="connsiteX83" fmla="*/ 502268 w 968375"/>
                <a:gd name="connsiteY83" fmla="*/ 787995 h 1192213"/>
                <a:gd name="connsiteX84" fmla="*/ 654521 w 968375"/>
                <a:gd name="connsiteY84" fmla="*/ 814388 h 1192213"/>
                <a:gd name="connsiteX85" fmla="*/ 663814 w 968375"/>
                <a:gd name="connsiteY85" fmla="*/ 805115 h 1192213"/>
                <a:gd name="connsiteX86" fmla="*/ 663814 w 968375"/>
                <a:gd name="connsiteY86" fmla="*/ 738774 h 1192213"/>
                <a:gd name="connsiteX87" fmla="*/ 741728 w 968375"/>
                <a:gd name="connsiteY87" fmla="*/ 733781 h 1192213"/>
                <a:gd name="connsiteX88" fmla="*/ 754594 w 968375"/>
                <a:gd name="connsiteY88" fmla="*/ 690981 h 1192213"/>
                <a:gd name="connsiteX89" fmla="*/ 755309 w 968375"/>
                <a:gd name="connsiteY89" fmla="*/ 688127 h 1192213"/>
                <a:gd name="connsiteX90" fmla="*/ 752450 w 968375"/>
                <a:gd name="connsiteY90" fmla="*/ 636054 h 1192213"/>
                <a:gd name="connsiteX91" fmla="*/ 791049 w 968375"/>
                <a:gd name="connsiteY91" fmla="*/ 614653 h 1192213"/>
                <a:gd name="connsiteX92" fmla="*/ 773894 w 968375"/>
                <a:gd name="connsiteY92" fmla="*/ 579700 h 1192213"/>
                <a:gd name="connsiteX93" fmla="*/ 770320 w 968375"/>
                <a:gd name="connsiteY93" fmla="*/ 576133 h 1192213"/>
                <a:gd name="connsiteX94" fmla="*/ 754594 w 968375"/>
                <a:gd name="connsiteY94" fmla="*/ 544033 h 1192213"/>
                <a:gd name="connsiteX95" fmla="*/ 750305 w 968375"/>
                <a:gd name="connsiteY95" fmla="*/ 527626 h 1192213"/>
                <a:gd name="connsiteX96" fmla="*/ 743872 w 968375"/>
                <a:gd name="connsiteY96" fmla="*/ 503373 h 1192213"/>
                <a:gd name="connsiteX97" fmla="*/ 738869 w 968375"/>
                <a:gd name="connsiteY97" fmla="*/ 458432 h 1192213"/>
                <a:gd name="connsiteX98" fmla="*/ 743157 w 968375"/>
                <a:gd name="connsiteY98" fmla="*/ 459859 h 1192213"/>
                <a:gd name="connsiteX99" fmla="*/ 744587 w 968375"/>
                <a:gd name="connsiteY99" fmla="*/ 458432 h 1192213"/>
                <a:gd name="connsiteX100" fmla="*/ 771035 w 968375"/>
                <a:gd name="connsiteY100" fmla="*/ 402792 h 1192213"/>
                <a:gd name="connsiteX101" fmla="*/ 599481 w 968375"/>
                <a:gd name="connsiteY101" fmla="*/ 377825 h 1192213"/>
                <a:gd name="connsiteX102" fmla="*/ 69850 w 968375"/>
                <a:gd name="connsiteY102" fmla="*/ 290513 h 1192213"/>
                <a:gd name="connsiteX103" fmla="*/ 84138 w 968375"/>
                <a:gd name="connsiteY103" fmla="*/ 290513 h 1192213"/>
                <a:gd name="connsiteX104" fmla="*/ 100013 w 968375"/>
                <a:gd name="connsiteY104" fmla="*/ 290513 h 1192213"/>
                <a:gd name="connsiteX105" fmla="*/ 101600 w 968375"/>
                <a:gd name="connsiteY105" fmla="*/ 290513 h 1192213"/>
                <a:gd name="connsiteX106" fmla="*/ 101600 w 968375"/>
                <a:gd name="connsiteY106" fmla="*/ 379413 h 1192213"/>
                <a:gd name="connsiteX107" fmla="*/ 100013 w 968375"/>
                <a:gd name="connsiteY107" fmla="*/ 379413 h 1192213"/>
                <a:gd name="connsiteX108" fmla="*/ 84138 w 968375"/>
                <a:gd name="connsiteY108" fmla="*/ 379413 h 1192213"/>
                <a:gd name="connsiteX109" fmla="*/ 69850 w 968375"/>
                <a:gd name="connsiteY109" fmla="*/ 379413 h 1192213"/>
                <a:gd name="connsiteX110" fmla="*/ 7161 w 968375"/>
                <a:gd name="connsiteY110" fmla="*/ 150813 h 1192213"/>
                <a:gd name="connsiteX111" fmla="*/ 69458 w 968375"/>
                <a:gd name="connsiteY111" fmla="*/ 150813 h 1192213"/>
                <a:gd name="connsiteX112" fmla="*/ 84496 w 968375"/>
                <a:gd name="connsiteY112" fmla="*/ 150813 h 1192213"/>
                <a:gd name="connsiteX113" fmla="*/ 100249 w 968375"/>
                <a:gd name="connsiteY113" fmla="*/ 150813 h 1192213"/>
                <a:gd name="connsiteX114" fmla="*/ 100965 w 968375"/>
                <a:gd name="connsiteY114" fmla="*/ 150813 h 1192213"/>
                <a:gd name="connsiteX115" fmla="*/ 116003 w 968375"/>
                <a:gd name="connsiteY115" fmla="*/ 150813 h 1192213"/>
                <a:gd name="connsiteX116" fmla="*/ 132472 w 968375"/>
                <a:gd name="connsiteY116" fmla="*/ 150813 h 1192213"/>
                <a:gd name="connsiteX117" fmla="*/ 161115 w 968375"/>
                <a:gd name="connsiteY117" fmla="*/ 150813 h 1192213"/>
                <a:gd name="connsiteX118" fmla="*/ 168275 w 968375"/>
                <a:gd name="connsiteY118" fmla="*/ 157868 h 1192213"/>
                <a:gd name="connsiteX119" fmla="*/ 168275 w 968375"/>
                <a:gd name="connsiteY119" fmla="*/ 251707 h 1192213"/>
                <a:gd name="connsiteX120" fmla="*/ 161115 w 968375"/>
                <a:gd name="connsiteY120" fmla="*/ 258763 h 1192213"/>
                <a:gd name="connsiteX121" fmla="*/ 132472 w 968375"/>
                <a:gd name="connsiteY121" fmla="*/ 258763 h 1192213"/>
                <a:gd name="connsiteX122" fmla="*/ 116003 w 968375"/>
                <a:gd name="connsiteY122" fmla="*/ 258763 h 1192213"/>
                <a:gd name="connsiteX123" fmla="*/ 100965 w 968375"/>
                <a:gd name="connsiteY123" fmla="*/ 258763 h 1192213"/>
                <a:gd name="connsiteX124" fmla="*/ 100249 w 968375"/>
                <a:gd name="connsiteY124" fmla="*/ 258763 h 1192213"/>
                <a:gd name="connsiteX125" fmla="*/ 84496 w 968375"/>
                <a:gd name="connsiteY125" fmla="*/ 258763 h 1192213"/>
                <a:gd name="connsiteX126" fmla="*/ 69458 w 968375"/>
                <a:gd name="connsiteY126" fmla="*/ 258763 h 1192213"/>
                <a:gd name="connsiteX127" fmla="*/ 7161 w 968375"/>
                <a:gd name="connsiteY127" fmla="*/ 258763 h 1192213"/>
                <a:gd name="connsiteX128" fmla="*/ 0 w 968375"/>
                <a:gd name="connsiteY128" fmla="*/ 251707 h 1192213"/>
                <a:gd name="connsiteX129" fmla="*/ 0 w 968375"/>
                <a:gd name="connsiteY129" fmla="*/ 157868 h 1192213"/>
                <a:gd name="connsiteX130" fmla="*/ 7161 w 968375"/>
                <a:gd name="connsiteY130" fmla="*/ 150813 h 1192213"/>
                <a:gd name="connsiteX131" fmla="*/ 328613 w 968375"/>
                <a:gd name="connsiteY131" fmla="*/ 63500 h 1192213"/>
                <a:gd name="connsiteX132" fmla="*/ 906463 w 968375"/>
                <a:gd name="connsiteY132" fmla="*/ 63500 h 1192213"/>
                <a:gd name="connsiteX133" fmla="*/ 906463 w 968375"/>
                <a:gd name="connsiteY133" fmla="*/ 1128713 h 1192213"/>
                <a:gd name="connsiteX134" fmla="*/ 328613 w 968375"/>
                <a:gd name="connsiteY134" fmla="*/ 1128713 h 1192213"/>
                <a:gd name="connsiteX135" fmla="*/ 133350 w 968375"/>
                <a:gd name="connsiteY135" fmla="*/ 63500 h 1192213"/>
                <a:gd name="connsiteX136" fmla="*/ 296863 w 968375"/>
                <a:gd name="connsiteY136" fmla="*/ 63500 h 1192213"/>
                <a:gd name="connsiteX137" fmla="*/ 296863 w 968375"/>
                <a:gd name="connsiteY137" fmla="*/ 1128713 h 1192213"/>
                <a:gd name="connsiteX138" fmla="*/ 133350 w 968375"/>
                <a:gd name="connsiteY138" fmla="*/ 1128713 h 1192213"/>
                <a:gd name="connsiteX139" fmla="*/ 133350 w 968375"/>
                <a:gd name="connsiteY139" fmla="*/ 1071674 h 1192213"/>
                <a:gd name="connsiteX140" fmla="*/ 161664 w 968375"/>
                <a:gd name="connsiteY140" fmla="*/ 1071674 h 1192213"/>
                <a:gd name="connsiteX141" fmla="*/ 199888 w 968375"/>
                <a:gd name="connsiteY141" fmla="*/ 1033172 h 1192213"/>
                <a:gd name="connsiteX142" fmla="*/ 199888 w 968375"/>
                <a:gd name="connsiteY142" fmla="*/ 938344 h 1192213"/>
                <a:gd name="connsiteX143" fmla="*/ 161664 w 968375"/>
                <a:gd name="connsiteY143" fmla="*/ 899842 h 1192213"/>
                <a:gd name="connsiteX144" fmla="*/ 133350 w 968375"/>
                <a:gd name="connsiteY144" fmla="*/ 899842 h 1192213"/>
                <a:gd name="connsiteX145" fmla="*/ 133350 w 968375"/>
                <a:gd name="connsiteY145" fmla="*/ 811431 h 1192213"/>
                <a:gd name="connsiteX146" fmla="*/ 161664 w 968375"/>
                <a:gd name="connsiteY146" fmla="*/ 811431 h 1192213"/>
                <a:gd name="connsiteX147" fmla="*/ 199888 w 968375"/>
                <a:gd name="connsiteY147" fmla="*/ 772929 h 1192213"/>
                <a:gd name="connsiteX148" fmla="*/ 199888 w 968375"/>
                <a:gd name="connsiteY148" fmla="*/ 678101 h 1192213"/>
                <a:gd name="connsiteX149" fmla="*/ 161664 w 968375"/>
                <a:gd name="connsiteY149" fmla="*/ 639599 h 1192213"/>
                <a:gd name="connsiteX150" fmla="*/ 133350 w 968375"/>
                <a:gd name="connsiteY150" fmla="*/ 639599 h 1192213"/>
                <a:gd name="connsiteX151" fmla="*/ 133350 w 968375"/>
                <a:gd name="connsiteY151" fmla="*/ 551188 h 1192213"/>
                <a:gd name="connsiteX152" fmla="*/ 161664 w 968375"/>
                <a:gd name="connsiteY152" fmla="*/ 551188 h 1192213"/>
                <a:gd name="connsiteX153" fmla="*/ 199888 w 968375"/>
                <a:gd name="connsiteY153" fmla="*/ 512686 h 1192213"/>
                <a:gd name="connsiteX154" fmla="*/ 199888 w 968375"/>
                <a:gd name="connsiteY154" fmla="*/ 417858 h 1192213"/>
                <a:gd name="connsiteX155" fmla="*/ 161664 w 968375"/>
                <a:gd name="connsiteY155" fmla="*/ 379356 h 1192213"/>
                <a:gd name="connsiteX156" fmla="*/ 133350 w 968375"/>
                <a:gd name="connsiteY156" fmla="*/ 379356 h 1192213"/>
                <a:gd name="connsiteX157" fmla="*/ 133350 w 968375"/>
                <a:gd name="connsiteY157" fmla="*/ 290945 h 1192213"/>
                <a:gd name="connsiteX158" fmla="*/ 161664 w 968375"/>
                <a:gd name="connsiteY158" fmla="*/ 290945 h 1192213"/>
                <a:gd name="connsiteX159" fmla="*/ 199888 w 968375"/>
                <a:gd name="connsiteY159" fmla="*/ 252443 h 1192213"/>
                <a:gd name="connsiteX160" fmla="*/ 199888 w 968375"/>
                <a:gd name="connsiteY160" fmla="*/ 157615 h 1192213"/>
                <a:gd name="connsiteX161" fmla="*/ 161664 w 968375"/>
                <a:gd name="connsiteY161" fmla="*/ 119113 h 1192213"/>
                <a:gd name="connsiteX162" fmla="*/ 133350 w 968375"/>
                <a:gd name="connsiteY162" fmla="*/ 119113 h 1192213"/>
                <a:gd name="connsiteX163" fmla="*/ 133350 w 968375"/>
                <a:gd name="connsiteY163" fmla="*/ 63500 h 1192213"/>
                <a:gd name="connsiteX164" fmla="*/ 85564 w 968375"/>
                <a:gd name="connsiteY164" fmla="*/ 0 h 1192213"/>
                <a:gd name="connsiteX165" fmla="*/ 952662 w 968375"/>
                <a:gd name="connsiteY165" fmla="*/ 0 h 1192213"/>
                <a:gd name="connsiteX166" fmla="*/ 968375 w 968375"/>
                <a:gd name="connsiteY166" fmla="*/ 15706 h 1192213"/>
                <a:gd name="connsiteX167" fmla="*/ 968375 w 968375"/>
                <a:gd name="connsiteY167" fmla="*/ 1176507 h 1192213"/>
                <a:gd name="connsiteX168" fmla="*/ 952662 w 968375"/>
                <a:gd name="connsiteY168" fmla="*/ 1192213 h 1192213"/>
                <a:gd name="connsiteX169" fmla="*/ 85564 w 968375"/>
                <a:gd name="connsiteY169" fmla="*/ 1192213 h 1192213"/>
                <a:gd name="connsiteX170" fmla="*/ 69850 w 968375"/>
                <a:gd name="connsiteY170" fmla="*/ 1176507 h 1192213"/>
                <a:gd name="connsiteX171" fmla="*/ 69850 w 968375"/>
                <a:gd name="connsiteY171" fmla="*/ 1072278 h 1192213"/>
                <a:gd name="connsiteX172" fmla="*/ 84849 w 968375"/>
                <a:gd name="connsiteY172" fmla="*/ 1072278 h 1192213"/>
                <a:gd name="connsiteX173" fmla="*/ 100563 w 968375"/>
                <a:gd name="connsiteY173" fmla="*/ 1072278 h 1192213"/>
                <a:gd name="connsiteX174" fmla="*/ 101277 w 968375"/>
                <a:gd name="connsiteY174" fmla="*/ 1072278 h 1192213"/>
                <a:gd name="connsiteX175" fmla="*/ 101277 w 968375"/>
                <a:gd name="connsiteY175" fmla="*/ 1145096 h 1192213"/>
                <a:gd name="connsiteX176" fmla="*/ 101277 w 968375"/>
                <a:gd name="connsiteY176" fmla="*/ 1160802 h 1192213"/>
                <a:gd name="connsiteX177" fmla="*/ 116991 w 968375"/>
                <a:gd name="connsiteY177" fmla="*/ 1160802 h 1192213"/>
                <a:gd name="connsiteX178" fmla="*/ 313409 w 968375"/>
                <a:gd name="connsiteY178" fmla="*/ 1160802 h 1192213"/>
                <a:gd name="connsiteX179" fmla="*/ 329123 w 968375"/>
                <a:gd name="connsiteY179" fmla="*/ 1160802 h 1192213"/>
                <a:gd name="connsiteX180" fmla="*/ 921235 w 968375"/>
                <a:gd name="connsiteY180" fmla="*/ 1160802 h 1192213"/>
                <a:gd name="connsiteX181" fmla="*/ 936948 w 968375"/>
                <a:gd name="connsiteY181" fmla="*/ 1160802 h 1192213"/>
                <a:gd name="connsiteX182" fmla="*/ 936948 w 968375"/>
                <a:gd name="connsiteY182" fmla="*/ 1145096 h 1192213"/>
                <a:gd name="connsiteX183" fmla="*/ 936948 w 968375"/>
                <a:gd name="connsiteY183" fmla="*/ 47117 h 1192213"/>
                <a:gd name="connsiteX184" fmla="*/ 936948 w 968375"/>
                <a:gd name="connsiteY184" fmla="*/ 31411 h 1192213"/>
                <a:gd name="connsiteX185" fmla="*/ 329123 w 968375"/>
                <a:gd name="connsiteY185" fmla="*/ 31411 h 1192213"/>
                <a:gd name="connsiteX186" fmla="*/ 313409 w 968375"/>
                <a:gd name="connsiteY186" fmla="*/ 31411 h 1192213"/>
                <a:gd name="connsiteX187" fmla="*/ 101277 w 968375"/>
                <a:gd name="connsiteY187" fmla="*/ 31411 h 1192213"/>
                <a:gd name="connsiteX188" fmla="*/ 101277 w 968375"/>
                <a:gd name="connsiteY188" fmla="*/ 47117 h 1192213"/>
                <a:gd name="connsiteX189" fmla="*/ 101277 w 968375"/>
                <a:gd name="connsiteY189" fmla="*/ 118507 h 1192213"/>
                <a:gd name="connsiteX190" fmla="*/ 100563 w 968375"/>
                <a:gd name="connsiteY190" fmla="*/ 118507 h 1192213"/>
                <a:gd name="connsiteX191" fmla="*/ 84849 w 968375"/>
                <a:gd name="connsiteY191" fmla="*/ 118507 h 1192213"/>
                <a:gd name="connsiteX192" fmla="*/ 69850 w 968375"/>
                <a:gd name="connsiteY192" fmla="*/ 118507 h 1192213"/>
                <a:gd name="connsiteX193" fmla="*/ 69850 w 968375"/>
                <a:gd name="connsiteY193" fmla="*/ 15706 h 1192213"/>
                <a:gd name="connsiteX194" fmla="*/ 85564 w 968375"/>
                <a:gd name="connsiteY194" fmla="*/ 0 h 119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968375" h="1192213">
                  <a:moveTo>
                    <a:pt x="7161" y="931863"/>
                  </a:moveTo>
                  <a:cubicBezTo>
                    <a:pt x="7161" y="931863"/>
                    <a:pt x="17186" y="931863"/>
                    <a:pt x="69458" y="931863"/>
                  </a:cubicBezTo>
                  <a:cubicBezTo>
                    <a:pt x="73755" y="931863"/>
                    <a:pt x="78767" y="931863"/>
                    <a:pt x="84496" y="931863"/>
                  </a:cubicBezTo>
                  <a:cubicBezTo>
                    <a:pt x="89508" y="931863"/>
                    <a:pt x="94521" y="931863"/>
                    <a:pt x="100249" y="931863"/>
                  </a:cubicBezTo>
                  <a:cubicBezTo>
                    <a:pt x="100249" y="931863"/>
                    <a:pt x="100249" y="931863"/>
                    <a:pt x="100965" y="931863"/>
                  </a:cubicBezTo>
                  <a:cubicBezTo>
                    <a:pt x="105262" y="931863"/>
                    <a:pt x="110274" y="931863"/>
                    <a:pt x="116003" y="931863"/>
                  </a:cubicBezTo>
                  <a:cubicBezTo>
                    <a:pt x="121015" y="931863"/>
                    <a:pt x="126744" y="931863"/>
                    <a:pt x="132472" y="931863"/>
                  </a:cubicBezTo>
                  <a:cubicBezTo>
                    <a:pt x="141065" y="931863"/>
                    <a:pt x="151090" y="931863"/>
                    <a:pt x="161115" y="931863"/>
                  </a:cubicBezTo>
                  <a:cubicBezTo>
                    <a:pt x="165411" y="931863"/>
                    <a:pt x="168275" y="934727"/>
                    <a:pt x="168275" y="939022"/>
                  </a:cubicBezTo>
                  <a:cubicBezTo>
                    <a:pt x="168275" y="939022"/>
                    <a:pt x="168275" y="939022"/>
                    <a:pt x="168275" y="1034242"/>
                  </a:cubicBezTo>
                  <a:cubicBezTo>
                    <a:pt x="168275" y="1038537"/>
                    <a:pt x="165411" y="1041401"/>
                    <a:pt x="161115" y="1041401"/>
                  </a:cubicBezTo>
                  <a:cubicBezTo>
                    <a:pt x="161115" y="1041401"/>
                    <a:pt x="156102" y="1041401"/>
                    <a:pt x="132472" y="1041401"/>
                  </a:cubicBezTo>
                  <a:cubicBezTo>
                    <a:pt x="127460" y="1041401"/>
                    <a:pt x="122447" y="1041401"/>
                    <a:pt x="116003" y="1041401"/>
                  </a:cubicBezTo>
                  <a:cubicBezTo>
                    <a:pt x="110990" y="1041401"/>
                    <a:pt x="105978" y="1041401"/>
                    <a:pt x="100965" y="1041401"/>
                  </a:cubicBezTo>
                  <a:cubicBezTo>
                    <a:pt x="100249" y="1041401"/>
                    <a:pt x="100249" y="1041401"/>
                    <a:pt x="100249" y="1041401"/>
                  </a:cubicBezTo>
                  <a:cubicBezTo>
                    <a:pt x="95237" y="1041401"/>
                    <a:pt x="90224" y="1041401"/>
                    <a:pt x="84496" y="1041401"/>
                  </a:cubicBezTo>
                  <a:cubicBezTo>
                    <a:pt x="79483" y="1041401"/>
                    <a:pt x="74471" y="1041401"/>
                    <a:pt x="69458" y="1041401"/>
                  </a:cubicBezTo>
                  <a:cubicBezTo>
                    <a:pt x="51557" y="1041401"/>
                    <a:pt x="31507" y="1041401"/>
                    <a:pt x="7161" y="1041401"/>
                  </a:cubicBezTo>
                  <a:cubicBezTo>
                    <a:pt x="2865" y="1041401"/>
                    <a:pt x="0" y="1038537"/>
                    <a:pt x="0" y="1034242"/>
                  </a:cubicBezTo>
                  <a:cubicBezTo>
                    <a:pt x="0" y="1034242"/>
                    <a:pt x="0" y="1034242"/>
                    <a:pt x="0" y="939022"/>
                  </a:cubicBezTo>
                  <a:cubicBezTo>
                    <a:pt x="0" y="934727"/>
                    <a:pt x="2865" y="931863"/>
                    <a:pt x="7161" y="931863"/>
                  </a:cubicBezTo>
                  <a:close/>
                  <a:moveTo>
                    <a:pt x="69850" y="811213"/>
                  </a:moveTo>
                  <a:lnTo>
                    <a:pt x="84138" y="811213"/>
                  </a:lnTo>
                  <a:lnTo>
                    <a:pt x="100013" y="811213"/>
                  </a:lnTo>
                  <a:lnTo>
                    <a:pt x="101600" y="811213"/>
                  </a:lnTo>
                  <a:lnTo>
                    <a:pt x="101600" y="900113"/>
                  </a:lnTo>
                  <a:lnTo>
                    <a:pt x="100013" y="900113"/>
                  </a:lnTo>
                  <a:lnTo>
                    <a:pt x="84138" y="900113"/>
                  </a:lnTo>
                  <a:lnTo>
                    <a:pt x="69850" y="900113"/>
                  </a:lnTo>
                  <a:close/>
                  <a:moveTo>
                    <a:pt x="7161" y="671513"/>
                  </a:moveTo>
                  <a:cubicBezTo>
                    <a:pt x="7161" y="671513"/>
                    <a:pt x="17186" y="671513"/>
                    <a:pt x="69458" y="671513"/>
                  </a:cubicBezTo>
                  <a:cubicBezTo>
                    <a:pt x="73755" y="671513"/>
                    <a:pt x="78767" y="671513"/>
                    <a:pt x="84496" y="671513"/>
                  </a:cubicBezTo>
                  <a:cubicBezTo>
                    <a:pt x="89508" y="671513"/>
                    <a:pt x="94521" y="671513"/>
                    <a:pt x="100249" y="671513"/>
                  </a:cubicBezTo>
                  <a:cubicBezTo>
                    <a:pt x="100249" y="671513"/>
                    <a:pt x="100249" y="671513"/>
                    <a:pt x="100965" y="671513"/>
                  </a:cubicBezTo>
                  <a:cubicBezTo>
                    <a:pt x="105262" y="671513"/>
                    <a:pt x="110274" y="671513"/>
                    <a:pt x="116003" y="671513"/>
                  </a:cubicBezTo>
                  <a:cubicBezTo>
                    <a:pt x="121015" y="671513"/>
                    <a:pt x="126744" y="671513"/>
                    <a:pt x="132472" y="671513"/>
                  </a:cubicBezTo>
                  <a:cubicBezTo>
                    <a:pt x="141065" y="671513"/>
                    <a:pt x="151090" y="671513"/>
                    <a:pt x="161115" y="671513"/>
                  </a:cubicBezTo>
                  <a:cubicBezTo>
                    <a:pt x="165411" y="671513"/>
                    <a:pt x="168275" y="675093"/>
                    <a:pt x="168275" y="678672"/>
                  </a:cubicBezTo>
                  <a:cubicBezTo>
                    <a:pt x="168275" y="678672"/>
                    <a:pt x="168275" y="678672"/>
                    <a:pt x="168275" y="773892"/>
                  </a:cubicBezTo>
                  <a:cubicBezTo>
                    <a:pt x="168275" y="777471"/>
                    <a:pt x="165411" y="781051"/>
                    <a:pt x="161115" y="781051"/>
                  </a:cubicBezTo>
                  <a:cubicBezTo>
                    <a:pt x="161115" y="781051"/>
                    <a:pt x="156102" y="781051"/>
                    <a:pt x="132472" y="781051"/>
                  </a:cubicBezTo>
                  <a:cubicBezTo>
                    <a:pt x="127460" y="781051"/>
                    <a:pt x="122447" y="781051"/>
                    <a:pt x="116003" y="781051"/>
                  </a:cubicBezTo>
                  <a:cubicBezTo>
                    <a:pt x="110990" y="781051"/>
                    <a:pt x="105978" y="781051"/>
                    <a:pt x="100965" y="781051"/>
                  </a:cubicBezTo>
                  <a:cubicBezTo>
                    <a:pt x="100249" y="781051"/>
                    <a:pt x="100249" y="781051"/>
                    <a:pt x="100249" y="781051"/>
                  </a:cubicBezTo>
                  <a:cubicBezTo>
                    <a:pt x="95237" y="781051"/>
                    <a:pt x="90224" y="781051"/>
                    <a:pt x="84496" y="781051"/>
                  </a:cubicBezTo>
                  <a:cubicBezTo>
                    <a:pt x="79483" y="781051"/>
                    <a:pt x="74471" y="781051"/>
                    <a:pt x="69458" y="781051"/>
                  </a:cubicBezTo>
                  <a:cubicBezTo>
                    <a:pt x="51557" y="781051"/>
                    <a:pt x="31507" y="781051"/>
                    <a:pt x="7161" y="781051"/>
                  </a:cubicBezTo>
                  <a:cubicBezTo>
                    <a:pt x="2865" y="781051"/>
                    <a:pt x="0" y="777471"/>
                    <a:pt x="0" y="773892"/>
                  </a:cubicBezTo>
                  <a:cubicBezTo>
                    <a:pt x="0" y="773892"/>
                    <a:pt x="0" y="773892"/>
                    <a:pt x="0" y="678672"/>
                  </a:cubicBezTo>
                  <a:cubicBezTo>
                    <a:pt x="0" y="675093"/>
                    <a:pt x="2865" y="671513"/>
                    <a:pt x="7161" y="671513"/>
                  </a:cubicBezTo>
                  <a:close/>
                  <a:moveTo>
                    <a:pt x="69850" y="550863"/>
                  </a:moveTo>
                  <a:lnTo>
                    <a:pt x="84138" y="550863"/>
                  </a:lnTo>
                  <a:lnTo>
                    <a:pt x="100013" y="550863"/>
                  </a:lnTo>
                  <a:lnTo>
                    <a:pt x="101600" y="550863"/>
                  </a:lnTo>
                  <a:lnTo>
                    <a:pt x="101600" y="639763"/>
                  </a:lnTo>
                  <a:lnTo>
                    <a:pt x="100013" y="639763"/>
                  </a:lnTo>
                  <a:lnTo>
                    <a:pt x="84138" y="639763"/>
                  </a:lnTo>
                  <a:lnTo>
                    <a:pt x="69850" y="639763"/>
                  </a:lnTo>
                  <a:close/>
                  <a:moveTo>
                    <a:pt x="7161" y="411163"/>
                  </a:moveTo>
                  <a:cubicBezTo>
                    <a:pt x="7161" y="411163"/>
                    <a:pt x="17186" y="411163"/>
                    <a:pt x="69458" y="411163"/>
                  </a:cubicBezTo>
                  <a:cubicBezTo>
                    <a:pt x="73755" y="411163"/>
                    <a:pt x="78767" y="411163"/>
                    <a:pt x="84496" y="411163"/>
                  </a:cubicBezTo>
                  <a:cubicBezTo>
                    <a:pt x="89508" y="411163"/>
                    <a:pt x="94521" y="411163"/>
                    <a:pt x="100249" y="411163"/>
                  </a:cubicBezTo>
                  <a:cubicBezTo>
                    <a:pt x="100249" y="411163"/>
                    <a:pt x="100249" y="411163"/>
                    <a:pt x="100965" y="411163"/>
                  </a:cubicBezTo>
                  <a:cubicBezTo>
                    <a:pt x="105262" y="411163"/>
                    <a:pt x="110274" y="411163"/>
                    <a:pt x="116003" y="411163"/>
                  </a:cubicBezTo>
                  <a:cubicBezTo>
                    <a:pt x="121015" y="411163"/>
                    <a:pt x="126744" y="411163"/>
                    <a:pt x="132472" y="411163"/>
                  </a:cubicBezTo>
                  <a:cubicBezTo>
                    <a:pt x="141065" y="411163"/>
                    <a:pt x="151090" y="411163"/>
                    <a:pt x="161115" y="411163"/>
                  </a:cubicBezTo>
                  <a:cubicBezTo>
                    <a:pt x="165411" y="411163"/>
                    <a:pt x="168275" y="414691"/>
                    <a:pt x="168275" y="418218"/>
                  </a:cubicBezTo>
                  <a:cubicBezTo>
                    <a:pt x="168275" y="418218"/>
                    <a:pt x="168275" y="418218"/>
                    <a:pt x="168275" y="512057"/>
                  </a:cubicBezTo>
                  <a:cubicBezTo>
                    <a:pt x="168275" y="515585"/>
                    <a:pt x="165411" y="519113"/>
                    <a:pt x="161115" y="519113"/>
                  </a:cubicBezTo>
                  <a:cubicBezTo>
                    <a:pt x="161115" y="519113"/>
                    <a:pt x="156102" y="519113"/>
                    <a:pt x="132472" y="519113"/>
                  </a:cubicBezTo>
                  <a:cubicBezTo>
                    <a:pt x="127460" y="519113"/>
                    <a:pt x="122447" y="519113"/>
                    <a:pt x="116003" y="519113"/>
                  </a:cubicBezTo>
                  <a:cubicBezTo>
                    <a:pt x="110990" y="519113"/>
                    <a:pt x="105978" y="519113"/>
                    <a:pt x="100965" y="519113"/>
                  </a:cubicBezTo>
                  <a:cubicBezTo>
                    <a:pt x="100249" y="519113"/>
                    <a:pt x="100249" y="519113"/>
                    <a:pt x="100249" y="519113"/>
                  </a:cubicBezTo>
                  <a:cubicBezTo>
                    <a:pt x="95237" y="519113"/>
                    <a:pt x="90224" y="519113"/>
                    <a:pt x="84496" y="519113"/>
                  </a:cubicBezTo>
                  <a:cubicBezTo>
                    <a:pt x="79483" y="519113"/>
                    <a:pt x="74471" y="519113"/>
                    <a:pt x="69458" y="519113"/>
                  </a:cubicBezTo>
                  <a:cubicBezTo>
                    <a:pt x="51557" y="519113"/>
                    <a:pt x="31507" y="519113"/>
                    <a:pt x="7161" y="519113"/>
                  </a:cubicBezTo>
                  <a:cubicBezTo>
                    <a:pt x="2865" y="519113"/>
                    <a:pt x="0" y="515585"/>
                    <a:pt x="0" y="512057"/>
                  </a:cubicBezTo>
                  <a:cubicBezTo>
                    <a:pt x="0" y="512057"/>
                    <a:pt x="0" y="512057"/>
                    <a:pt x="0" y="418218"/>
                  </a:cubicBezTo>
                  <a:cubicBezTo>
                    <a:pt x="0" y="414691"/>
                    <a:pt x="2865" y="411163"/>
                    <a:pt x="7161" y="411163"/>
                  </a:cubicBezTo>
                  <a:close/>
                  <a:moveTo>
                    <a:pt x="599481" y="377825"/>
                  </a:moveTo>
                  <a:cubicBezTo>
                    <a:pt x="507986" y="377825"/>
                    <a:pt x="462238" y="433466"/>
                    <a:pt x="439365" y="480546"/>
                  </a:cubicBezTo>
                  <a:cubicBezTo>
                    <a:pt x="400050" y="564720"/>
                    <a:pt x="465098" y="648894"/>
                    <a:pt x="496549" y="682421"/>
                  </a:cubicBezTo>
                  <a:cubicBezTo>
                    <a:pt x="496549" y="682421"/>
                    <a:pt x="496549" y="682421"/>
                    <a:pt x="496549" y="778721"/>
                  </a:cubicBezTo>
                  <a:cubicBezTo>
                    <a:pt x="496549" y="783001"/>
                    <a:pt x="498694" y="786568"/>
                    <a:pt x="502268" y="787995"/>
                  </a:cubicBezTo>
                  <a:cubicBezTo>
                    <a:pt x="565885" y="813675"/>
                    <a:pt x="647373" y="814388"/>
                    <a:pt x="654521" y="814388"/>
                  </a:cubicBezTo>
                  <a:cubicBezTo>
                    <a:pt x="660240" y="814388"/>
                    <a:pt x="663814" y="809395"/>
                    <a:pt x="663814" y="805115"/>
                  </a:cubicBezTo>
                  <a:cubicBezTo>
                    <a:pt x="663814" y="805115"/>
                    <a:pt x="663814" y="805115"/>
                    <a:pt x="663814" y="738774"/>
                  </a:cubicBezTo>
                  <a:cubicBezTo>
                    <a:pt x="703843" y="742341"/>
                    <a:pt x="733150" y="738774"/>
                    <a:pt x="741728" y="733781"/>
                  </a:cubicBezTo>
                  <a:cubicBezTo>
                    <a:pt x="752450" y="728074"/>
                    <a:pt x="753165" y="715234"/>
                    <a:pt x="754594" y="690981"/>
                  </a:cubicBezTo>
                  <a:cubicBezTo>
                    <a:pt x="754594" y="690981"/>
                    <a:pt x="754594" y="690981"/>
                    <a:pt x="755309" y="688127"/>
                  </a:cubicBezTo>
                  <a:cubicBezTo>
                    <a:pt x="756024" y="672434"/>
                    <a:pt x="753879" y="649607"/>
                    <a:pt x="752450" y="636054"/>
                  </a:cubicBezTo>
                  <a:cubicBezTo>
                    <a:pt x="781757" y="635340"/>
                    <a:pt x="790335" y="619647"/>
                    <a:pt x="791049" y="614653"/>
                  </a:cubicBezTo>
                  <a:cubicBezTo>
                    <a:pt x="795338" y="603240"/>
                    <a:pt x="784616" y="591827"/>
                    <a:pt x="773894" y="579700"/>
                  </a:cubicBezTo>
                  <a:cubicBezTo>
                    <a:pt x="772464" y="578273"/>
                    <a:pt x="771750" y="577560"/>
                    <a:pt x="770320" y="576133"/>
                  </a:cubicBezTo>
                  <a:cubicBezTo>
                    <a:pt x="765316" y="570426"/>
                    <a:pt x="758883" y="559013"/>
                    <a:pt x="754594" y="544033"/>
                  </a:cubicBezTo>
                  <a:cubicBezTo>
                    <a:pt x="753165" y="540466"/>
                    <a:pt x="751735" y="534760"/>
                    <a:pt x="750305" y="527626"/>
                  </a:cubicBezTo>
                  <a:cubicBezTo>
                    <a:pt x="748161" y="519779"/>
                    <a:pt x="746731" y="510506"/>
                    <a:pt x="743872" y="503373"/>
                  </a:cubicBezTo>
                  <a:cubicBezTo>
                    <a:pt x="741728" y="495526"/>
                    <a:pt x="739583" y="471272"/>
                    <a:pt x="738869" y="458432"/>
                  </a:cubicBezTo>
                  <a:cubicBezTo>
                    <a:pt x="740298" y="458432"/>
                    <a:pt x="742443" y="459859"/>
                    <a:pt x="743157" y="459859"/>
                  </a:cubicBezTo>
                  <a:cubicBezTo>
                    <a:pt x="743872" y="459859"/>
                    <a:pt x="743872" y="459146"/>
                    <a:pt x="744587" y="458432"/>
                  </a:cubicBezTo>
                  <a:cubicBezTo>
                    <a:pt x="749591" y="437032"/>
                    <a:pt x="781042" y="402792"/>
                    <a:pt x="771035" y="402792"/>
                  </a:cubicBezTo>
                  <a:cubicBezTo>
                    <a:pt x="673821" y="404219"/>
                    <a:pt x="704558" y="377825"/>
                    <a:pt x="599481" y="377825"/>
                  </a:cubicBezTo>
                  <a:close/>
                  <a:moveTo>
                    <a:pt x="69850" y="290513"/>
                  </a:moveTo>
                  <a:lnTo>
                    <a:pt x="84138" y="290513"/>
                  </a:lnTo>
                  <a:lnTo>
                    <a:pt x="100013" y="290513"/>
                  </a:lnTo>
                  <a:lnTo>
                    <a:pt x="101600" y="290513"/>
                  </a:lnTo>
                  <a:lnTo>
                    <a:pt x="101600" y="379413"/>
                  </a:lnTo>
                  <a:lnTo>
                    <a:pt x="100013" y="379413"/>
                  </a:lnTo>
                  <a:lnTo>
                    <a:pt x="84138" y="379413"/>
                  </a:lnTo>
                  <a:lnTo>
                    <a:pt x="69850" y="379413"/>
                  </a:lnTo>
                  <a:close/>
                  <a:moveTo>
                    <a:pt x="7161" y="150813"/>
                  </a:moveTo>
                  <a:cubicBezTo>
                    <a:pt x="31507" y="150813"/>
                    <a:pt x="51557" y="150813"/>
                    <a:pt x="69458" y="150813"/>
                  </a:cubicBezTo>
                  <a:cubicBezTo>
                    <a:pt x="74471" y="150813"/>
                    <a:pt x="79483" y="150813"/>
                    <a:pt x="84496" y="150813"/>
                  </a:cubicBezTo>
                  <a:cubicBezTo>
                    <a:pt x="90224" y="150813"/>
                    <a:pt x="95237" y="150813"/>
                    <a:pt x="100249" y="150813"/>
                  </a:cubicBezTo>
                  <a:cubicBezTo>
                    <a:pt x="100249" y="150813"/>
                    <a:pt x="100249" y="150813"/>
                    <a:pt x="100965" y="150813"/>
                  </a:cubicBezTo>
                  <a:cubicBezTo>
                    <a:pt x="105978" y="150813"/>
                    <a:pt x="110990" y="150813"/>
                    <a:pt x="116003" y="150813"/>
                  </a:cubicBezTo>
                  <a:cubicBezTo>
                    <a:pt x="122447" y="150813"/>
                    <a:pt x="127460" y="150813"/>
                    <a:pt x="132472" y="150813"/>
                  </a:cubicBezTo>
                  <a:cubicBezTo>
                    <a:pt x="156102" y="150813"/>
                    <a:pt x="161115" y="150813"/>
                    <a:pt x="161115" y="150813"/>
                  </a:cubicBezTo>
                  <a:cubicBezTo>
                    <a:pt x="165411" y="150813"/>
                    <a:pt x="168275" y="153635"/>
                    <a:pt x="168275" y="157868"/>
                  </a:cubicBezTo>
                  <a:cubicBezTo>
                    <a:pt x="168275" y="251707"/>
                    <a:pt x="168275" y="251707"/>
                    <a:pt x="168275" y="251707"/>
                  </a:cubicBezTo>
                  <a:cubicBezTo>
                    <a:pt x="168275" y="255941"/>
                    <a:pt x="165411" y="258763"/>
                    <a:pt x="161115" y="258763"/>
                  </a:cubicBezTo>
                  <a:cubicBezTo>
                    <a:pt x="151090" y="258763"/>
                    <a:pt x="141065" y="258763"/>
                    <a:pt x="132472" y="258763"/>
                  </a:cubicBezTo>
                  <a:cubicBezTo>
                    <a:pt x="126744" y="258763"/>
                    <a:pt x="121015" y="258763"/>
                    <a:pt x="116003" y="258763"/>
                  </a:cubicBezTo>
                  <a:cubicBezTo>
                    <a:pt x="110274" y="258763"/>
                    <a:pt x="105262" y="258763"/>
                    <a:pt x="100965" y="258763"/>
                  </a:cubicBezTo>
                  <a:cubicBezTo>
                    <a:pt x="100249" y="258763"/>
                    <a:pt x="100249" y="258763"/>
                    <a:pt x="100249" y="258763"/>
                  </a:cubicBezTo>
                  <a:cubicBezTo>
                    <a:pt x="94521" y="258763"/>
                    <a:pt x="89508" y="258763"/>
                    <a:pt x="84496" y="258763"/>
                  </a:cubicBezTo>
                  <a:cubicBezTo>
                    <a:pt x="78767" y="258763"/>
                    <a:pt x="73755" y="258763"/>
                    <a:pt x="69458" y="258763"/>
                  </a:cubicBezTo>
                  <a:cubicBezTo>
                    <a:pt x="17186" y="258763"/>
                    <a:pt x="7161" y="258763"/>
                    <a:pt x="7161" y="258763"/>
                  </a:cubicBezTo>
                  <a:cubicBezTo>
                    <a:pt x="2865" y="258763"/>
                    <a:pt x="0" y="255941"/>
                    <a:pt x="0" y="251707"/>
                  </a:cubicBezTo>
                  <a:cubicBezTo>
                    <a:pt x="0" y="157868"/>
                    <a:pt x="0" y="157868"/>
                    <a:pt x="0" y="157868"/>
                  </a:cubicBezTo>
                  <a:cubicBezTo>
                    <a:pt x="0" y="153635"/>
                    <a:pt x="2865" y="150813"/>
                    <a:pt x="7161" y="150813"/>
                  </a:cubicBezTo>
                  <a:close/>
                  <a:moveTo>
                    <a:pt x="328613" y="63500"/>
                  </a:moveTo>
                  <a:lnTo>
                    <a:pt x="906463" y="63500"/>
                  </a:lnTo>
                  <a:lnTo>
                    <a:pt x="906463" y="1128713"/>
                  </a:lnTo>
                  <a:lnTo>
                    <a:pt x="328613" y="1128713"/>
                  </a:lnTo>
                  <a:close/>
                  <a:moveTo>
                    <a:pt x="133350" y="63500"/>
                  </a:moveTo>
                  <a:cubicBezTo>
                    <a:pt x="133350" y="63500"/>
                    <a:pt x="133350" y="63500"/>
                    <a:pt x="296863" y="63500"/>
                  </a:cubicBezTo>
                  <a:cubicBezTo>
                    <a:pt x="296863" y="63500"/>
                    <a:pt x="296863" y="63500"/>
                    <a:pt x="296863" y="1128713"/>
                  </a:cubicBezTo>
                  <a:cubicBezTo>
                    <a:pt x="296863" y="1128713"/>
                    <a:pt x="296863" y="1128713"/>
                    <a:pt x="133350" y="1128713"/>
                  </a:cubicBezTo>
                  <a:cubicBezTo>
                    <a:pt x="133350" y="1128713"/>
                    <a:pt x="133350" y="1128713"/>
                    <a:pt x="133350" y="1071674"/>
                  </a:cubicBezTo>
                  <a:cubicBezTo>
                    <a:pt x="133350" y="1071674"/>
                    <a:pt x="133350" y="1071674"/>
                    <a:pt x="161664" y="1071674"/>
                  </a:cubicBezTo>
                  <a:cubicBezTo>
                    <a:pt x="183607" y="1071674"/>
                    <a:pt x="199888" y="1054562"/>
                    <a:pt x="199888" y="1033172"/>
                  </a:cubicBezTo>
                  <a:cubicBezTo>
                    <a:pt x="199888" y="1033172"/>
                    <a:pt x="199888" y="1033172"/>
                    <a:pt x="199888" y="938344"/>
                  </a:cubicBezTo>
                  <a:cubicBezTo>
                    <a:pt x="199888" y="916954"/>
                    <a:pt x="183607" y="899842"/>
                    <a:pt x="161664" y="899842"/>
                  </a:cubicBezTo>
                  <a:cubicBezTo>
                    <a:pt x="161664" y="899842"/>
                    <a:pt x="161664" y="899842"/>
                    <a:pt x="133350" y="899842"/>
                  </a:cubicBezTo>
                  <a:cubicBezTo>
                    <a:pt x="133350" y="899842"/>
                    <a:pt x="133350" y="899842"/>
                    <a:pt x="133350" y="811431"/>
                  </a:cubicBezTo>
                  <a:cubicBezTo>
                    <a:pt x="133350" y="811431"/>
                    <a:pt x="133350" y="811431"/>
                    <a:pt x="161664" y="811431"/>
                  </a:cubicBezTo>
                  <a:cubicBezTo>
                    <a:pt x="182900" y="811431"/>
                    <a:pt x="199888" y="794319"/>
                    <a:pt x="199888" y="772929"/>
                  </a:cubicBezTo>
                  <a:cubicBezTo>
                    <a:pt x="199888" y="772929"/>
                    <a:pt x="199888" y="772929"/>
                    <a:pt x="199888" y="678101"/>
                  </a:cubicBezTo>
                  <a:cubicBezTo>
                    <a:pt x="199888" y="656711"/>
                    <a:pt x="182900" y="639599"/>
                    <a:pt x="161664" y="639599"/>
                  </a:cubicBezTo>
                  <a:cubicBezTo>
                    <a:pt x="161664" y="639599"/>
                    <a:pt x="161664" y="639599"/>
                    <a:pt x="133350" y="639599"/>
                  </a:cubicBezTo>
                  <a:cubicBezTo>
                    <a:pt x="133350" y="639599"/>
                    <a:pt x="133350" y="639599"/>
                    <a:pt x="133350" y="551188"/>
                  </a:cubicBezTo>
                  <a:cubicBezTo>
                    <a:pt x="133350" y="551188"/>
                    <a:pt x="133350" y="551188"/>
                    <a:pt x="161664" y="551188"/>
                  </a:cubicBezTo>
                  <a:cubicBezTo>
                    <a:pt x="182900" y="551188"/>
                    <a:pt x="199888" y="534076"/>
                    <a:pt x="199888" y="512686"/>
                  </a:cubicBezTo>
                  <a:cubicBezTo>
                    <a:pt x="199888" y="512686"/>
                    <a:pt x="199888" y="512686"/>
                    <a:pt x="199888" y="417858"/>
                  </a:cubicBezTo>
                  <a:cubicBezTo>
                    <a:pt x="199888" y="396468"/>
                    <a:pt x="182900" y="379356"/>
                    <a:pt x="161664" y="379356"/>
                  </a:cubicBezTo>
                  <a:cubicBezTo>
                    <a:pt x="161664" y="379356"/>
                    <a:pt x="161664" y="379356"/>
                    <a:pt x="133350" y="379356"/>
                  </a:cubicBezTo>
                  <a:cubicBezTo>
                    <a:pt x="133350" y="379356"/>
                    <a:pt x="133350" y="379356"/>
                    <a:pt x="133350" y="290945"/>
                  </a:cubicBezTo>
                  <a:cubicBezTo>
                    <a:pt x="133350" y="290945"/>
                    <a:pt x="133350" y="290945"/>
                    <a:pt x="161664" y="290945"/>
                  </a:cubicBezTo>
                  <a:cubicBezTo>
                    <a:pt x="183607" y="290945"/>
                    <a:pt x="199888" y="273833"/>
                    <a:pt x="199888" y="252443"/>
                  </a:cubicBezTo>
                  <a:cubicBezTo>
                    <a:pt x="199888" y="252443"/>
                    <a:pt x="199888" y="252443"/>
                    <a:pt x="199888" y="157615"/>
                  </a:cubicBezTo>
                  <a:cubicBezTo>
                    <a:pt x="199888" y="136225"/>
                    <a:pt x="183607" y="119113"/>
                    <a:pt x="161664" y="119113"/>
                  </a:cubicBezTo>
                  <a:cubicBezTo>
                    <a:pt x="161664" y="119113"/>
                    <a:pt x="161664" y="119113"/>
                    <a:pt x="133350" y="119113"/>
                  </a:cubicBezTo>
                  <a:cubicBezTo>
                    <a:pt x="133350" y="119113"/>
                    <a:pt x="133350" y="119113"/>
                    <a:pt x="133350" y="63500"/>
                  </a:cubicBezTo>
                  <a:close/>
                  <a:moveTo>
                    <a:pt x="85564" y="0"/>
                  </a:moveTo>
                  <a:cubicBezTo>
                    <a:pt x="85564" y="0"/>
                    <a:pt x="85564" y="0"/>
                    <a:pt x="952662" y="0"/>
                  </a:cubicBezTo>
                  <a:cubicBezTo>
                    <a:pt x="961947" y="0"/>
                    <a:pt x="968375" y="7139"/>
                    <a:pt x="968375" y="15706"/>
                  </a:cubicBezTo>
                  <a:cubicBezTo>
                    <a:pt x="968375" y="15706"/>
                    <a:pt x="968375" y="15706"/>
                    <a:pt x="968375" y="1176507"/>
                  </a:cubicBezTo>
                  <a:cubicBezTo>
                    <a:pt x="968375" y="1185788"/>
                    <a:pt x="961947" y="1192213"/>
                    <a:pt x="952662" y="1192213"/>
                  </a:cubicBezTo>
                  <a:cubicBezTo>
                    <a:pt x="952662" y="1192213"/>
                    <a:pt x="952662" y="1192213"/>
                    <a:pt x="85564" y="1192213"/>
                  </a:cubicBezTo>
                  <a:cubicBezTo>
                    <a:pt x="76278" y="1192213"/>
                    <a:pt x="69850" y="1185788"/>
                    <a:pt x="69850" y="1176507"/>
                  </a:cubicBezTo>
                  <a:cubicBezTo>
                    <a:pt x="69850" y="1176507"/>
                    <a:pt x="69850" y="1176507"/>
                    <a:pt x="69850" y="1072278"/>
                  </a:cubicBezTo>
                  <a:cubicBezTo>
                    <a:pt x="69850" y="1072278"/>
                    <a:pt x="69850" y="1072278"/>
                    <a:pt x="84849" y="1072278"/>
                  </a:cubicBezTo>
                  <a:cubicBezTo>
                    <a:pt x="84849" y="1072278"/>
                    <a:pt x="84849" y="1072278"/>
                    <a:pt x="100563" y="1072278"/>
                  </a:cubicBezTo>
                  <a:cubicBezTo>
                    <a:pt x="100563" y="1072278"/>
                    <a:pt x="100563" y="1072278"/>
                    <a:pt x="101277" y="1072278"/>
                  </a:cubicBezTo>
                  <a:cubicBezTo>
                    <a:pt x="101277" y="1072278"/>
                    <a:pt x="101277" y="1072278"/>
                    <a:pt x="101277" y="1145096"/>
                  </a:cubicBezTo>
                  <a:cubicBezTo>
                    <a:pt x="101277" y="1145096"/>
                    <a:pt x="101277" y="1145096"/>
                    <a:pt x="101277" y="1160802"/>
                  </a:cubicBezTo>
                  <a:cubicBezTo>
                    <a:pt x="101277" y="1160802"/>
                    <a:pt x="101277" y="1160802"/>
                    <a:pt x="116991" y="1160802"/>
                  </a:cubicBezTo>
                  <a:cubicBezTo>
                    <a:pt x="116991" y="1160802"/>
                    <a:pt x="116991" y="1160802"/>
                    <a:pt x="313409" y="1160802"/>
                  </a:cubicBezTo>
                  <a:cubicBezTo>
                    <a:pt x="313409" y="1160802"/>
                    <a:pt x="313409" y="1160802"/>
                    <a:pt x="329123" y="1160802"/>
                  </a:cubicBezTo>
                  <a:cubicBezTo>
                    <a:pt x="329123" y="1160802"/>
                    <a:pt x="329123" y="1160802"/>
                    <a:pt x="921235" y="1160802"/>
                  </a:cubicBezTo>
                  <a:cubicBezTo>
                    <a:pt x="921235" y="1160802"/>
                    <a:pt x="921235" y="1160802"/>
                    <a:pt x="936948" y="1160802"/>
                  </a:cubicBezTo>
                  <a:cubicBezTo>
                    <a:pt x="936948" y="1160802"/>
                    <a:pt x="936948" y="1160802"/>
                    <a:pt x="936948" y="1145096"/>
                  </a:cubicBezTo>
                  <a:cubicBezTo>
                    <a:pt x="936948" y="1145096"/>
                    <a:pt x="936948" y="1145096"/>
                    <a:pt x="936948" y="47117"/>
                  </a:cubicBezTo>
                  <a:cubicBezTo>
                    <a:pt x="936948" y="47117"/>
                    <a:pt x="936948" y="47117"/>
                    <a:pt x="936948" y="31411"/>
                  </a:cubicBezTo>
                  <a:cubicBezTo>
                    <a:pt x="936948" y="31411"/>
                    <a:pt x="936948" y="31411"/>
                    <a:pt x="329123" y="31411"/>
                  </a:cubicBezTo>
                  <a:cubicBezTo>
                    <a:pt x="329123" y="31411"/>
                    <a:pt x="329123" y="31411"/>
                    <a:pt x="313409" y="31411"/>
                  </a:cubicBezTo>
                  <a:cubicBezTo>
                    <a:pt x="313409" y="31411"/>
                    <a:pt x="313409" y="31411"/>
                    <a:pt x="101277" y="31411"/>
                  </a:cubicBezTo>
                  <a:cubicBezTo>
                    <a:pt x="101277" y="31411"/>
                    <a:pt x="101277" y="31411"/>
                    <a:pt x="101277" y="47117"/>
                  </a:cubicBezTo>
                  <a:cubicBezTo>
                    <a:pt x="101277" y="47117"/>
                    <a:pt x="101277" y="47117"/>
                    <a:pt x="101277" y="118507"/>
                  </a:cubicBezTo>
                  <a:cubicBezTo>
                    <a:pt x="101277" y="118507"/>
                    <a:pt x="101277" y="118507"/>
                    <a:pt x="100563" y="118507"/>
                  </a:cubicBezTo>
                  <a:cubicBezTo>
                    <a:pt x="100563" y="118507"/>
                    <a:pt x="100563" y="118507"/>
                    <a:pt x="84849" y="118507"/>
                  </a:cubicBezTo>
                  <a:cubicBezTo>
                    <a:pt x="84849" y="118507"/>
                    <a:pt x="84849" y="118507"/>
                    <a:pt x="69850" y="118507"/>
                  </a:cubicBezTo>
                  <a:cubicBezTo>
                    <a:pt x="69850" y="118507"/>
                    <a:pt x="69850" y="118507"/>
                    <a:pt x="69850" y="15706"/>
                  </a:cubicBezTo>
                  <a:cubicBezTo>
                    <a:pt x="69850" y="7139"/>
                    <a:pt x="76278" y="0"/>
                    <a:pt x="85564"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24" name="Oval 23">
            <a:extLst>
              <a:ext uri="{FF2B5EF4-FFF2-40B4-BE49-F238E27FC236}">
                <a16:creationId xmlns:a16="http://schemas.microsoft.com/office/drawing/2014/main" id="{C60AD9A2-B890-6348-3F9E-1A735B5368FC}"/>
              </a:ext>
            </a:extLst>
          </p:cNvPr>
          <p:cNvSpPr/>
          <p:nvPr/>
        </p:nvSpPr>
        <p:spPr>
          <a:xfrm>
            <a:off x="1396181" y="3598606"/>
            <a:ext cx="720000" cy="720000"/>
          </a:xfrm>
          <a:prstGeom prst="ellipse">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rgbClr val="575757"/>
                </a:solidFill>
              </a:rPr>
              <a:t>头像照片</a:t>
            </a:r>
            <a:endParaRPr lang="en-US" sz="1200" dirty="0">
              <a:solidFill>
                <a:srgbClr val="575757"/>
              </a:solidFill>
            </a:endParaRPr>
          </a:p>
        </p:txBody>
      </p:sp>
      <p:sp>
        <p:nvSpPr>
          <p:cNvPr id="25" name="Rectangle 24">
            <a:extLst>
              <a:ext uri="{FF2B5EF4-FFF2-40B4-BE49-F238E27FC236}">
                <a16:creationId xmlns:a16="http://schemas.microsoft.com/office/drawing/2014/main" id="{EBC603D5-482F-A9CB-AA25-A69E023A06C6}"/>
              </a:ext>
            </a:extLst>
          </p:cNvPr>
          <p:cNvSpPr/>
          <p:nvPr/>
        </p:nvSpPr>
        <p:spPr>
          <a:xfrm>
            <a:off x="2460310" y="3641101"/>
            <a:ext cx="1543665" cy="255639"/>
          </a:xfrm>
          <a:prstGeom prst="rect">
            <a:avLst/>
          </a:prstGeom>
          <a:solidFill>
            <a:srgbClr val="F2F2F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rgbClr val="575757"/>
                </a:solidFill>
              </a:rPr>
              <a:t>姓名</a:t>
            </a:r>
            <a:endParaRPr lang="en-US" sz="1200" dirty="0">
              <a:solidFill>
                <a:srgbClr val="575757"/>
              </a:solidFill>
            </a:endParaRPr>
          </a:p>
        </p:txBody>
      </p:sp>
      <p:sp>
        <p:nvSpPr>
          <p:cNvPr id="26" name="Rectangle 25">
            <a:extLst>
              <a:ext uri="{FF2B5EF4-FFF2-40B4-BE49-F238E27FC236}">
                <a16:creationId xmlns:a16="http://schemas.microsoft.com/office/drawing/2014/main" id="{A0DF006A-A00A-F125-D31D-DC7B0A865827}"/>
              </a:ext>
            </a:extLst>
          </p:cNvPr>
          <p:cNvSpPr/>
          <p:nvPr/>
        </p:nvSpPr>
        <p:spPr>
          <a:xfrm>
            <a:off x="2460309" y="4014309"/>
            <a:ext cx="1543665" cy="255639"/>
          </a:xfrm>
          <a:prstGeom prst="rect">
            <a:avLst/>
          </a:prstGeom>
          <a:solidFill>
            <a:srgbClr val="F2F2F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rgbClr val="575757"/>
                </a:solidFill>
              </a:rPr>
              <a:t>会员号</a:t>
            </a:r>
            <a:endParaRPr lang="en-US" sz="1200" dirty="0">
              <a:solidFill>
                <a:srgbClr val="575757"/>
              </a:solidFill>
            </a:endParaRPr>
          </a:p>
        </p:txBody>
      </p:sp>
    </p:spTree>
    <p:extLst>
      <p:ext uri="{BB962C8B-B14F-4D97-AF65-F5344CB8AC3E}">
        <p14:creationId xmlns:p14="http://schemas.microsoft.com/office/powerpoint/2010/main" val="3875093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4D1070A-4CB8-5116-D0AF-E9EFF02FD8A9}"/>
              </a:ext>
            </a:extLst>
          </p:cNvPr>
          <p:cNvGraphicFramePr>
            <a:graphicFrameLocks noChangeAspect="1"/>
          </p:cNvGraphicFramePr>
          <p:nvPr>
            <p:custDataLst>
              <p:tags r:id="rId1"/>
            </p:custDataLst>
            <p:extLst>
              <p:ext uri="{D42A27DB-BD31-4B8C-83A1-F6EECF244321}">
                <p14:modId xmlns:p14="http://schemas.microsoft.com/office/powerpoint/2010/main" val="2787759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1DD48FD3-3A18-0A59-501E-6B52E3935078}"/>
              </a:ext>
            </a:extLst>
          </p:cNvPr>
          <p:cNvPicPr>
            <a:picLocks noChangeAspect="1"/>
          </p:cNvPicPr>
          <p:nvPr/>
        </p:nvPicPr>
        <p:blipFill>
          <a:blip r:embed="rId5"/>
          <a:stretch>
            <a:fillRect/>
          </a:stretch>
        </p:blipFill>
        <p:spPr>
          <a:xfrm>
            <a:off x="701825" y="4889877"/>
            <a:ext cx="4823904" cy="2534854"/>
          </a:xfrm>
          <a:prstGeom prst="rect">
            <a:avLst/>
          </a:prstGeom>
        </p:spPr>
      </p:pic>
      <p:sp>
        <p:nvSpPr>
          <p:cNvPr id="2" name="Title 1">
            <a:extLst>
              <a:ext uri="{FF2B5EF4-FFF2-40B4-BE49-F238E27FC236}">
                <a16:creationId xmlns:a16="http://schemas.microsoft.com/office/drawing/2014/main" id="{5F01AD5C-7674-A4A7-2FFB-EDC2EA31C5B5}"/>
              </a:ext>
            </a:extLst>
          </p:cNvPr>
          <p:cNvSpPr>
            <a:spLocks noGrp="1"/>
          </p:cNvSpPr>
          <p:nvPr>
            <p:ph type="title"/>
          </p:nvPr>
        </p:nvSpPr>
        <p:spPr/>
        <p:txBody>
          <a:bodyPr vert="horz"/>
          <a:lstStyle/>
          <a:p>
            <a:r>
              <a:rPr lang="zh-CN" altLang="en-US" dirty="0"/>
              <a:t>首页界面</a:t>
            </a:r>
            <a:endParaRPr lang="en-US" dirty="0"/>
          </a:p>
        </p:txBody>
      </p:sp>
      <p:sp>
        <p:nvSpPr>
          <p:cNvPr id="5" name="Rectangle 4">
            <a:extLst>
              <a:ext uri="{FF2B5EF4-FFF2-40B4-BE49-F238E27FC236}">
                <a16:creationId xmlns:a16="http://schemas.microsoft.com/office/drawing/2014/main" id="{35CD65DA-1F80-124E-F2C2-65FD0B71F555}"/>
              </a:ext>
            </a:extLst>
          </p:cNvPr>
          <p:cNvSpPr/>
          <p:nvPr/>
        </p:nvSpPr>
        <p:spPr>
          <a:xfrm>
            <a:off x="630000" y="1406013"/>
            <a:ext cx="5013716" cy="4493345"/>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a:extLst>
              <a:ext uri="{FF2B5EF4-FFF2-40B4-BE49-F238E27FC236}">
                <a16:creationId xmlns:a16="http://schemas.microsoft.com/office/drawing/2014/main" id="{A35AD383-FA38-D5D9-1003-1076B22822C2}"/>
              </a:ext>
            </a:extLst>
          </p:cNvPr>
          <p:cNvSpPr/>
          <p:nvPr/>
        </p:nvSpPr>
        <p:spPr>
          <a:xfrm>
            <a:off x="630000" y="5909190"/>
            <a:ext cx="5013716" cy="796413"/>
          </a:xfrm>
          <a:prstGeom prst="rect">
            <a:avLst/>
          </a:prstGeom>
          <a:solidFill>
            <a:srgbClr val="F2F2F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 name="bcgBugsWhite_House">
            <a:extLst>
              <a:ext uri="{FF2B5EF4-FFF2-40B4-BE49-F238E27FC236}">
                <a16:creationId xmlns:a16="http://schemas.microsoft.com/office/drawing/2014/main" id="{50EA670A-A67F-935F-44AE-684BC9DEFFDB}"/>
              </a:ext>
            </a:extLst>
          </p:cNvPr>
          <p:cNvGrpSpPr>
            <a:grpSpLocks noChangeAspect="1"/>
          </p:cNvGrpSpPr>
          <p:nvPr/>
        </p:nvGrpSpPr>
        <p:grpSpPr bwMode="auto">
          <a:xfrm>
            <a:off x="1258530" y="6026759"/>
            <a:ext cx="407639" cy="408038"/>
            <a:chOff x="2818" y="1137"/>
            <a:chExt cx="2044" cy="2046"/>
          </a:xfrm>
        </p:grpSpPr>
        <p:sp>
          <p:nvSpPr>
            <p:cNvPr id="8" name="AutoShape 3">
              <a:extLst>
                <a:ext uri="{FF2B5EF4-FFF2-40B4-BE49-F238E27FC236}">
                  <a16:creationId xmlns:a16="http://schemas.microsoft.com/office/drawing/2014/main" id="{AEA669A5-2977-D9F3-2A76-EBF627F2E6D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9">
              <a:extLst>
                <a:ext uri="{FF2B5EF4-FFF2-40B4-BE49-F238E27FC236}">
                  <a16:creationId xmlns:a16="http://schemas.microsoft.com/office/drawing/2014/main" id="{B5718444-684D-97BB-E974-8D29098E0FE2}"/>
                </a:ext>
              </a:extLst>
            </p:cNvPr>
            <p:cNvSpPr>
              <a:spLocks noEditPoints="1"/>
            </p:cNvSpPr>
            <p:nvPr/>
          </p:nvSpPr>
          <p:spPr bwMode="auto">
            <a:xfrm>
              <a:off x="2978" y="1258"/>
              <a:ext cx="1726" cy="1804"/>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rgbClr val="29BA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9BA74"/>
                </a:solidFill>
              </a:endParaRPr>
            </a:p>
          </p:txBody>
        </p:sp>
      </p:grpSp>
      <p:sp>
        <p:nvSpPr>
          <p:cNvPr id="10" name="TextBox 9">
            <a:extLst>
              <a:ext uri="{FF2B5EF4-FFF2-40B4-BE49-F238E27FC236}">
                <a16:creationId xmlns:a16="http://schemas.microsoft.com/office/drawing/2014/main" id="{B2664E0F-85FF-701A-65AB-72DAEAF93399}"/>
              </a:ext>
            </a:extLst>
          </p:cNvPr>
          <p:cNvSpPr txBox="1"/>
          <p:nvPr/>
        </p:nvSpPr>
        <p:spPr>
          <a:xfrm>
            <a:off x="1052052" y="6434797"/>
            <a:ext cx="808480" cy="2708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rgbClr val="29BA74"/>
                </a:solidFill>
              </a:rPr>
              <a:t>首页</a:t>
            </a:r>
            <a:endParaRPr lang="en-US" sz="1200" dirty="0" err="1">
              <a:solidFill>
                <a:srgbClr val="29BA74"/>
              </a:solidFill>
            </a:endParaRPr>
          </a:p>
        </p:txBody>
      </p:sp>
      <p:sp>
        <p:nvSpPr>
          <p:cNvPr id="11" name="TextBox 10">
            <a:extLst>
              <a:ext uri="{FF2B5EF4-FFF2-40B4-BE49-F238E27FC236}">
                <a16:creationId xmlns:a16="http://schemas.microsoft.com/office/drawing/2014/main" id="{141760A4-EE24-E8E1-8514-1652DD3A573A}"/>
              </a:ext>
            </a:extLst>
          </p:cNvPr>
          <p:cNvSpPr txBox="1"/>
          <p:nvPr/>
        </p:nvSpPr>
        <p:spPr>
          <a:xfrm>
            <a:off x="2712586" y="6434797"/>
            <a:ext cx="808480" cy="2708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chemeClr val="bg1">
                    <a:lumMod val="65000"/>
                  </a:schemeClr>
                </a:solidFill>
              </a:rPr>
              <a:t>组织</a:t>
            </a:r>
            <a:endParaRPr lang="en-US" sz="1200" dirty="0" err="1">
              <a:solidFill>
                <a:schemeClr val="bg1">
                  <a:lumMod val="65000"/>
                </a:schemeClr>
              </a:solidFill>
            </a:endParaRPr>
          </a:p>
        </p:txBody>
      </p:sp>
      <p:sp>
        <p:nvSpPr>
          <p:cNvPr id="12" name="TextBox 11">
            <a:extLst>
              <a:ext uri="{FF2B5EF4-FFF2-40B4-BE49-F238E27FC236}">
                <a16:creationId xmlns:a16="http://schemas.microsoft.com/office/drawing/2014/main" id="{6AE9E368-1132-C05B-5313-84D9041E33A0}"/>
              </a:ext>
            </a:extLst>
          </p:cNvPr>
          <p:cNvSpPr txBox="1"/>
          <p:nvPr/>
        </p:nvSpPr>
        <p:spPr>
          <a:xfrm>
            <a:off x="4373120" y="6434797"/>
            <a:ext cx="808480" cy="270806"/>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chemeClr val="bg1">
                    <a:lumMod val="65000"/>
                  </a:schemeClr>
                </a:solidFill>
              </a:rPr>
              <a:t>我的</a:t>
            </a:r>
            <a:endParaRPr lang="en-US" sz="1200" dirty="0" err="1">
              <a:solidFill>
                <a:schemeClr val="bg1">
                  <a:lumMod val="65000"/>
                </a:schemeClr>
              </a:solidFill>
            </a:endParaRPr>
          </a:p>
        </p:txBody>
      </p:sp>
      <p:grpSp>
        <p:nvGrpSpPr>
          <p:cNvPr id="13" name="bcgBugs_Gender-neutral Front ">
            <a:extLst>
              <a:ext uri="{FF2B5EF4-FFF2-40B4-BE49-F238E27FC236}">
                <a16:creationId xmlns:a16="http://schemas.microsoft.com/office/drawing/2014/main" id="{EC4C9671-6B97-E9F0-4C69-B41FA4BF8745}"/>
              </a:ext>
            </a:extLst>
          </p:cNvPr>
          <p:cNvGrpSpPr>
            <a:grpSpLocks noChangeAspect="1"/>
          </p:cNvGrpSpPr>
          <p:nvPr/>
        </p:nvGrpSpPr>
        <p:grpSpPr bwMode="auto">
          <a:xfrm>
            <a:off x="4548760" y="6026759"/>
            <a:ext cx="457200" cy="457200"/>
            <a:chOff x="2652" y="972"/>
            <a:chExt cx="2376" cy="2376"/>
          </a:xfrm>
        </p:grpSpPr>
        <p:sp>
          <p:nvSpPr>
            <p:cNvPr id="14" name="AutoShape 3">
              <a:extLst>
                <a:ext uri="{FF2B5EF4-FFF2-40B4-BE49-F238E27FC236}">
                  <a16:creationId xmlns:a16="http://schemas.microsoft.com/office/drawing/2014/main" id="{1F9301F9-F734-8296-0972-1C905C50E552}"/>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5">
              <a:extLst>
                <a:ext uri="{FF2B5EF4-FFF2-40B4-BE49-F238E27FC236}">
                  <a16:creationId xmlns:a16="http://schemas.microsoft.com/office/drawing/2014/main" id="{F577EE07-386B-60A8-8E07-61277937E275}"/>
                </a:ext>
              </a:extLst>
            </p:cNvPr>
            <p:cNvSpPr>
              <a:spLocks noEditPoints="1"/>
            </p:cNvSpPr>
            <p:nvPr/>
          </p:nvSpPr>
          <p:spPr bwMode="auto">
            <a:xfrm>
              <a:off x="2795" y="1181"/>
              <a:ext cx="2093" cy="1960"/>
            </a:xfrm>
            <a:custGeom>
              <a:avLst/>
              <a:gdLst>
                <a:gd name="T0" fmla="*/ 241 w 880"/>
                <a:gd name="T1" fmla="*/ 408 h 824"/>
                <a:gd name="T2" fmla="*/ 311 w 880"/>
                <a:gd name="T3" fmla="*/ 556 h 824"/>
                <a:gd name="T4" fmla="*/ 311 w 880"/>
                <a:gd name="T5" fmla="*/ 604 h 824"/>
                <a:gd name="T6" fmla="*/ 315 w 880"/>
                <a:gd name="T7" fmla="*/ 609 h 824"/>
                <a:gd name="T8" fmla="*/ 333 w 880"/>
                <a:gd name="T9" fmla="*/ 628 h 824"/>
                <a:gd name="T10" fmla="*/ 333 w 880"/>
                <a:gd name="T11" fmla="*/ 575 h 824"/>
                <a:gd name="T12" fmla="*/ 440 w 880"/>
                <a:gd name="T13" fmla="*/ 622 h 824"/>
                <a:gd name="T14" fmla="*/ 547 w 880"/>
                <a:gd name="T15" fmla="*/ 575 h 824"/>
                <a:gd name="T16" fmla="*/ 547 w 880"/>
                <a:gd name="T17" fmla="*/ 628 h 824"/>
                <a:gd name="T18" fmla="*/ 565 w 880"/>
                <a:gd name="T19" fmla="*/ 609 h 824"/>
                <a:gd name="T20" fmla="*/ 569 w 880"/>
                <a:gd name="T21" fmla="*/ 604 h 824"/>
                <a:gd name="T22" fmla="*/ 569 w 880"/>
                <a:gd name="T23" fmla="*/ 556 h 824"/>
                <a:gd name="T24" fmla="*/ 639 w 880"/>
                <a:gd name="T25" fmla="*/ 408 h 824"/>
                <a:gd name="T26" fmla="*/ 673 w 880"/>
                <a:gd name="T27" fmla="*/ 355 h 824"/>
                <a:gd name="T28" fmla="*/ 673 w 880"/>
                <a:gd name="T29" fmla="*/ 353 h 824"/>
                <a:gd name="T30" fmla="*/ 648 w 880"/>
                <a:gd name="T31" fmla="*/ 365 h 824"/>
                <a:gd name="T32" fmla="*/ 625 w 880"/>
                <a:gd name="T33" fmla="*/ 391 h 824"/>
                <a:gd name="T34" fmla="*/ 620 w 880"/>
                <a:gd name="T35" fmla="*/ 397 h 824"/>
                <a:gd name="T36" fmla="*/ 550 w 880"/>
                <a:gd name="T37" fmla="*/ 545 h 824"/>
                <a:gd name="T38" fmla="*/ 440 w 880"/>
                <a:gd name="T39" fmla="*/ 601 h 824"/>
                <a:gd name="T40" fmla="*/ 330 w 880"/>
                <a:gd name="T41" fmla="*/ 545 h 824"/>
                <a:gd name="T42" fmla="*/ 260 w 880"/>
                <a:gd name="T43" fmla="*/ 397 h 824"/>
                <a:gd name="T44" fmla="*/ 255 w 880"/>
                <a:gd name="T45" fmla="*/ 391 h 824"/>
                <a:gd name="T46" fmla="*/ 232 w 880"/>
                <a:gd name="T47" fmla="*/ 365 h 824"/>
                <a:gd name="T48" fmla="*/ 207 w 880"/>
                <a:gd name="T49" fmla="*/ 353 h 824"/>
                <a:gd name="T50" fmla="*/ 207 w 880"/>
                <a:gd name="T51" fmla="*/ 356 h 824"/>
                <a:gd name="T52" fmla="*/ 241 w 880"/>
                <a:gd name="T53" fmla="*/ 408 h 824"/>
                <a:gd name="T54" fmla="*/ 877 w 880"/>
                <a:gd name="T55" fmla="*/ 809 h 824"/>
                <a:gd name="T56" fmla="*/ 771 w 880"/>
                <a:gd name="T57" fmla="*/ 654 h 824"/>
                <a:gd name="T58" fmla="*/ 582 w 880"/>
                <a:gd name="T59" fmla="*/ 622 h 824"/>
                <a:gd name="T60" fmla="*/ 569 w 880"/>
                <a:gd name="T61" fmla="*/ 637 h 824"/>
                <a:gd name="T62" fmla="*/ 567 w 880"/>
                <a:gd name="T63" fmla="*/ 639 h 824"/>
                <a:gd name="T64" fmla="*/ 440 w 880"/>
                <a:gd name="T65" fmla="*/ 690 h 824"/>
                <a:gd name="T66" fmla="*/ 313 w 880"/>
                <a:gd name="T67" fmla="*/ 639 h 824"/>
                <a:gd name="T68" fmla="*/ 311 w 880"/>
                <a:gd name="T69" fmla="*/ 637 h 824"/>
                <a:gd name="T70" fmla="*/ 298 w 880"/>
                <a:gd name="T71" fmla="*/ 622 h 824"/>
                <a:gd name="T72" fmla="*/ 109 w 880"/>
                <a:gd name="T73" fmla="*/ 654 h 824"/>
                <a:gd name="T74" fmla="*/ 3 w 880"/>
                <a:gd name="T75" fmla="*/ 809 h 824"/>
                <a:gd name="T76" fmla="*/ 13 w 880"/>
                <a:gd name="T77" fmla="*/ 824 h 824"/>
                <a:gd name="T78" fmla="*/ 867 w 880"/>
                <a:gd name="T79" fmla="*/ 824 h 824"/>
                <a:gd name="T80" fmla="*/ 877 w 880"/>
                <a:gd name="T81" fmla="*/ 809 h 824"/>
                <a:gd name="T82" fmla="*/ 315 w 880"/>
                <a:gd name="T83" fmla="*/ 200 h 824"/>
                <a:gd name="T84" fmla="*/ 328 w 880"/>
                <a:gd name="T85" fmla="*/ 192 h 824"/>
                <a:gd name="T86" fmla="*/ 350 w 880"/>
                <a:gd name="T87" fmla="*/ 186 h 824"/>
                <a:gd name="T88" fmla="*/ 618 w 880"/>
                <a:gd name="T89" fmla="*/ 354 h 824"/>
                <a:gd name="T90" fmla="*/ 651 w 880"/>
                <a:gd name="T91" fmla="*/ 353 h 824"/>
                <a:gd name="T92" fmla="*/ 656 w 880"/>
                <a:gd name="T93" fmla="*/ 351 h 824"/>
                <a:gd name="T94" fmla="*/ 666 w 880"/>
                <a:gd name="T95" fmla="*/ 347 h 824"/>
                <a:gd name="T96" fmla="*/ 672 w 880"/>
                <a:gd name="T97" fmla="*/ 344 h 824"/>
                <a:gd name="T98" fmla="*/ 688 w 880"/>
                <a:gd name="T99" fmla="*/ 333 h 824"/>
                <a:gd name="T100" fmla="*/ 672 w 880"/>
                <a:gd name="T101" fmla="*/ 282 h 824"/>
                <a:gd name="T102" fmla="*/ 673 w 880"/>
                <a:gd name="T103" fmla="*/ 237 h 824"/>
                <a:gd name="T104" fmla="*/ 442 w 880"/>
                <a:gd name="T105" fmla="*/ 0 h 824"/>
                <a:gd name="T106" fmla="*/ 211 w 880"/>
                <a:gd name="T107" fmla="*/ 237 h 824"/>
                <a:gd name="T108" fmla="*/ 224 w 880"/>
                <a:gd name="T109" fmla="*/ 335 h 824"/>
                <a:gd name="T110" fmla="*/ 315 w 880"/>
                <a:gd name="T111" fmla="*/ 20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0" h="824">
                  <a:moveTo>
                    <a:pt x="241" y="408"/>
                  </a:moveTo>
                  <a:cubicBezTo>
                    <a:pt x="252" y="436"/>
                    <a:pt x="289" y="529"/>
                    <a:pt x="311" y="556"/>
                  </a:cubicBezTo>
                  <a:cubicBezTo>
                    <a:pt x="311" y="604"/>
                    <a:pt x="311" y="604"/>
                    <a:pt x="311" y="604"/>
                  </a:cubicBezTo>
                  <a:cubicBezTo>
                    <a:pt x="315" y="609"/>
                    <a:pt x="315" y="609"/>
                    <a:pt x="315" y="609"/>
                  </a:cubicBezTo>
                  <a:cubicBezTo>
                    <a:pt x="316" y="610"/>
                    <a:pt x="321" y="618"/>
                    <a:pt x="333" y="628"/>
                  </a:cubicBezTo>
                  <a:cubicBezTo>
                    <a:pt x="333" y="575"/>
                    <a:pt x="333" y="575"/>
                    <a:pt x="333" y="575"/>
                  </a:cubicBezTo>
                  <a:cubicBezTo>
                    <a:pt x="361" y="596"/>
                    <a:pt x="408" y="622"/>
                    <a:pt x="440" y="622"/>
                  </a:cubicBezTo>
                  <a:cubicBezTo>
                    <a:pt x="472" y="622"/>
                    <a:pt x="519" y="596"/>
                    <a:pt x="547" y="575"/>
                  </a:cubicBezTo>
                  <a:cubicBezTo>
                    <a:pt x="547" y="628"/>
                    <a:pt x="547" y="628"/>
                    <a:pt x="547" y="628"/>
                  </a:cubicBezTo>
                  <a:cubicBezTo>
                    <a:pt x="559" y="618"/>
                    <a:pt x="564" y="610"/>
                    <a:pt x="565" y="609"/>
                  </a:cubicBezTo>
                  <a:cubicBezTo>
                    <a:pt x="569" y="604"/>
                    <a:pt x="569" y="604"/>
                    <a:pt x="569" y="604"/>
                  </a:cubicBezTo>
                  <a:cubicBezTo>
                    <a:pt x="569" y="556"/>
                    <a:pt x="569" y="556"/>
                    <a:pt x="569" y="556"/>
                  </a:cubicBezTo>
                  <a:cubicBezTo>
                    <a:pt x="591" y="529"/>
                    <a:pt x="628" y="436"/>
                    <a:pt x="639" y="408"/>
                  </a:cubicBezTo>
                  <a:cubicBezTo>
                    <a:pt x="664" y="393"/>
                    <a:pt x="671" y="366"/>
                    <a:pt x="673" y="355"/>
                  </a:cubicBezTo>
                  <a:cubicBezTo>
                    <a:pt x="673" y="353"/>
                    <a:pt x="673" y="353"/>
                    <a:pt x="673" y="353"/>
                  </a:cubicBezTo>
                  <a:cubicBezTo>
                    <a:pt x="648" y="365"/>
                    <a:pt x="648" y="365"/>
                    <a:pt x="648" y="365"/>
                  </a:cubicBezTo>
                  <a:cubicBezTo>
                    <a:pt x="644" y="375"/>
                    <a:pt x="638" y="385"/>
                    <a:pt x="625" y="391"/>
                  </a:cubicBezTo>
                  <a:cubicBezTo>
                    <a:pt x="623" y="392"/>
                    <a:pt x="621" y="394"/>
                    <a:pt x="620" y="397"/>
                  </a:cubicBezTo>
                  <a:cubicBezTo>
                    <a:pt x="600" y="447"/>
                    <a:pt x="564" y="532"/>
                    <a:pt x="550" y="545"/>
                  </a:cubicBezTo>
                  <a:cubicBezTo>
                    <a:pt x="528" y="564"/>
                    <a:pt x="471" y="601"/>
                    <a:pt x="440" y="601"/>
                  </a:cubicBezTo>
                  <a:cubicBezTo>
                    <a:pt x="408" y="601"/>
                    <a:pt x="352" y="564"/>
                    <a:pt x="330" y="545"/>
                  </a:cubicBezTo>
                  <a:cubicBezTo>
                    <a:pt x="316" y="532"/>
                    <a:pt x="280" y="447"/>
                    <a:pt x="260" y="397"/>
                  </a:cubicBezTo>
                  <a:cubicBezTo>
                    <a:pt x="259" y="394"/>
                    <a:pt x="257" y="392"/>
                    <a:pt x="255" y="391"/>
                  </a:cubicBezTo>
                  <a:cubicBezTo>
                    <a:pt x="242" y="385"/>
                    <a:pt x="236" y="374"/>
                    <a:pt x="232" y="365"/>
                  </a:cubicBezTo>
                  <a:cubicBezTo>
                    <a:pt x="207" y="353"/>
                    <a:pt x="207" y="353"/>
                    <a:pt x="207" y="353"/>
                  </a:cubicBezTo>
                  <a:cubicBezTo>
                    <a:pt x="207" y="356"/>
                    <a:pt x="207" y="356"/>
                    <a:pt x="207" y="356"/>
                  </a:cubicBezTo>
                  <a:cubicBezTo>
                    <a:pt x="210" y="369"/>
                    <a:pt x="217" y="394"/>
                    <a:pt x="241" y="408"/>
                  </a:cubicBezTo>
                  <a:close/>
                  <a:moveTo>
                    <a:pt x="877" y="809"/>
                  </a:moveTo>
                  <a:cubicBezTo>
                    <a:pt x="864" y="773"/>
                    <a:pt x="825" y="678"/>
                    <a:pt x="771" y="654"/>
                  </a:cubicBezTo>
                  <a:cubicBezTo>
                    <a:pt x="705" y="623"/>
                    <a:pt x="582" y="622"/>
                    <a:pt x="582" y="622"/>
                  </a:cubicBezTo>
                  <a:cubicBezTo>
                    <a:pt x="582" y="622"/>
                    <a:pt x="578" y="628"/>
                    <a:pt x="569" y="637"/>
                  </a:cubicBezTo>
                  <a:cubicBezTo>
                    <a:pt x="568" y="638"/>
                    <a:pt x="567" y="638"/>
                    <a:pt x="567" y="639"/>
                  </a:cubicBezTo>
                  <a:cubicBezTo>
                    <a:pt x="545" y="659"/>
                    <a:pt x="503" y="689"/>
                    <a:pt x="440" y="690"/>
                  </a:cubicBezTo>
                  <a:cubicBezTo>
                    <a:pt x="377" y="689"/>
                    <a:pt x="335" y="659"/>
                    <a:pt x="313" y="639"/>
                  </a:cubicBezTo>
                  <a:cubicBezTo>
                    <a:pt x="313" y="638"/>
                    <a:pt x="312" y="638"/>
                    <a:pt x="311" y="637"/>
                  </a:cubicBezTo>
                  <a:cubicBezTo>
                    <a:pt x="302" y="628"/>
                    <a:pt x="298" y="622"/>
                    <a:pt x="298" y="622"/>
                  </a:cubicBezTo>
                  <a:cubicBezTo>
                    <a:pt x="298" y="622"/>
                    <a:pt x="175" y="623"/>
                    <a:pt x="109" y="654"/>
                  </a:cubicBezTo>
                  <a:cubicBezTo>
                    <a:pt x="55" y="678"/>
                    <a:pt x="16" y="773"/>
                    <a:pt x="3" y="809"/>
                  </a:cubicBezTo>
                  <a:cubicBezTo>
                    <a:pt x="0" y="816"/>
                    <a:pt x="5" y="824"/>
                    <a:pt x="13" y="824"/>
                  </a:cubicBezTo>
                  <a:cubicBezTo>
                    <a:pt x="867" y="824"/>
                    <a:pt x="867" y="824"/>
                    <a:pt x="867" y="824"/>
                  </a:cubicBezTo>
                  <a:cubicBezTo>
                    <a:pt x="875" y="824"/>
                    <a:pt x="880" y="816"/>
                    <a:pt x="877" y="809"/>
                  </a:cubicBezTo>
                  <a:close/>
                  <a:moveTo>
                    <a:pt x="315" y="200"/>
                  </a:moveTo>
                  <a:cubicBezTo>
                    <a:pt x="318" y="197"/>
                    <a:pt x="323" y="194"/>
                    <a:pt x="328" y="192"/>
                  </a:cubicBezTo>
                  <a:cubicBezTo>
                    <a:pt x="335" y="188"/>
                    <a:pt x="342" y="186"/>
                    <a:pt x="350" y="186"/>
                  </a:cubicBezTo>
                  <a:cubicBezTo>
                    <a:pt x="488" y="194"/>
                    <a:pt x="592" y="340"/>
                    <a:pt x="618" y="354"/>
                  </a:cubicBezTo>
                  <a:cubicBezTo>
                    <a:pt x="627" y="360"/>
                    <a:pt x="639" y="358"/>
                    <a:pt x="651" y="353"/>
                  </a:cubicBezTo>
                  <a:cubicBezTo>
                    <a:pt x="653" y="353"/>
                    <a:pt x="655" y="352"/>
                    <a:pt x="656" y="351"/>
                  </a:cubicBezTo>
                  <a:cubicBezTo>
                    <a:pt x="666" y="347"/>
                    <a:pt x="666" y="347"/>
                    <a:pt x="666" y="347"/>
                  </a:cubicBezTo>
                  <a:cubicBezTo>
                    <a:pt x="668" y="346"/>
                    <a:pt x="670" y="345"/>
                    <a:pt x="672" y="344"/>
                  </a:cubicBezTo>
                  <a:cubicBezTo>
                    <a:pt x="682" y="338"/>
                    <a:pt x="688" y="333"/>
                    <a:pt x="688" y="333"/>
                  </a:cubicBezTo>
                  <a:cubicBezTo>
                    <a:pt x="675" y="313"/>
                    <a:pt x="671" y="295"/>
                    <a:pt x="672" y="282"/>
                  </a:cubicBezTo>
                  <a:cubicBezTo>
                    <a:pt x="674" y="268"/>
                    <a:pt x="673" y="252"/>
                    <a:pt x="673" y="237"/>
                  </a:cubicBezTo>
                  <a:cubicBezTo>
                    <a:pt x="673" y="106"/>
                    <a:pt x="573" y="0"/>
                    <a:pt x="442" y="0"/>
                  </a:cubicBezTo>
                  <a:cubicBezTo>
                    <a:pt x="312" y="0"/>
                    <a:pt x="211" y="106"/>
                    <a:pt x="211" y="237"/>
                  </a:cubicBezTo>
                  <a:cubicBezTo>
                    <a:pt x="211" y="266"/>
                    <a:pt x="216" y="324"/>
                    <a:pt x="224" y="335"/>
                  </a:cubicBezTo>
                  <a:cubicBezTo>
                    <a:pt x="247" y="356"/>
                    <a:pt x="250" y="244"/>
                    <a:pt x="315" y="20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 name="bcgIconsWhite_Contacts ">
            <a:extLst>
              <a:ext uri="{FF2B5EF4-FFF2-40B4-BE49-F238E27FC236}">
                <a16:creationId xmlns:a16="http://schemas.microsoft.com/office/drawing/2014/main" id="{AC88F7A7-79B5-AC4A-7545-30AF74B44EF3}"/>
              </a:ext>
            </a:extLst>
          </p:cNvPr>
          <p:cNvGrpSpPr>
            <a:grpSpLocks noChangeAspect="1"/>
          </p:cNvGrpSpPr>
          <p:nvPr/>
        </p:nvGrpSpPr>
        <p:grpSpPr>
          <a:xfrm>
            <a:off x="2888006" y="6026759"/>
            <a:ext cx="457641" cy="457200"/>
            <a:chOff x="5273675" y="2606675"/>
            <a:chExt cx="1646238" cy="1644650"/>
          </a:xfrm>
        </p:grpSpPr>
        <p:sp>
          <p:nvSpPr>
            <p:cNvPr id="17" name="AutoShape 3">
              <a:extLst>
                <a:ext uri="{FF2B5EF4-FFF2-40B4-BE49-F238E27FC236}">
                  <a16:creationId xmlns:a16="http://schemas.microsoft.com/office/drawing/2014/main" id="{F46D7B7A-1455-1351-095D-A01C2D26D7C7}"/>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B41F8F3A-0E96-4750-C5C2-204827FE19D0}"/>
                </a:ext>
              </a:extLst>
            </p:cNvPr>
            <p:cNvSpPr>
              <a:spLocks/>
            </p:cNvSpPr>
            <p:nvPr/>
          </p:nvSpPr>
          <p:spPr bwMode="auto">
            <a:xfrm>
              <a:off x="5578475" y="2889250"/>
              <a:ext cx="968375" cy="1192213"/>
            </a:xfrm>
            <a:custGeom>
              <a:avLst/>
              <a:gdLst>
                <a:gd name="connsiteX0" fmla="*/ 7161 w 968375"/>
                <a:gd name="connsiteY0" fmla="*/ 931863 h 1192213"/>
                <a:gd name="connsiteX1" fmla="*/ 69458 w 968375"/>
                <a:gd name="connsiteY1" fmla="*/ 931863 h 1192213"/>
                <a:gd name="connsiteX2" fmla="*/ 84496 w 968375"/>
                <a:gd name="connsiteY2" fmla="*/ 931863 h 1192213"/>
                <a:gd name="connsiteX3" fmla="*/ 100249 w 968375"/>
                <a:gd name="connsiteY3" fmla="*/ 931863 h 1192213"/>
                <a:gd name="connsiteX4" fmla="*/ 100965 w 968375"/>
                <a:gd name="connsiteY4" fmla="*/ 931863 h 1192213"/>
                <a:gd name="connsiteX5" fmla="*/ 116003 w 968375"/>
                <a:gd name="connsiteY5" fmla="*/ 931863 h 1192213"/>
                <a:gd name="connsiteX6" fmla="*/ 132472 w 968375"/>
                <a:gd name="connsiteY6" fmla="*/ 931863 h 1192213"/>
                <a:gd name="connsiteX7" fmla="*/ 161115 w 968375"/>
                <a:gd name="connsiteY7" fmla="*/ 931863 h 1192213"/>
                <a:gd name="connsiteX8" fmla="*/ 168275 w 968375"/>
                <a:gd name="connsiteY8" fmla="*/ 939022 h 1192213"/>
                <a:gd name="connsiteX9" fmla="*/ 168275 w 968375"/>
                <a:gd name="connsiteY9" fmla="*/ 1034242 h 1192213"/>
                <a:gd name="connsiteX10" fmla="*/ 161115 w 968375"/>
                <a:gd name="connsiteY10" fmla="*/ 1041401 h 1192213"/>
                <a:gd name="connsiteX11" fmla="*/ 132472 w 968375"/>
                <a:gd name="connsiteY11" fmla="*/ 1041401 h 1192213"/>
                <a:gd name="connsiteX12" fmla="*/ 116003 w 968375"/>
                <a:gd name="connsiteY12" fmla="*/ 1041401 h 1192213"/>
                <a:gd name="connsiteX13" fmla="*/ 100965 w 968375"/>
                <a:gd name="connsiteY13" fmla="*/ 1041401 h 1192213"/>
                <a:gd name="connsiteX14" fmla="*/ 100249 w 968375"/>
                <a:gd name="connsiteY14" fmla="*/ 1041401 h 1192213"/>
                <a:gd name="connsiteX15" fmla="*/ 84496 w 968375"/>
                <a:gd name="connsiteY15" fmla="*/ 1041401 h 1192213"/>
                <a:gd name="connsiteX16" fmla="*/ 69458 w 968375"/>
                <a:gd name="connsiteY16" fmla="*/ 1041401 h 1192213"/>
                <a:gd name="connsiteX17" fmla="*/ 7161 w 968375"/>
                <a:gd name="connsiteY17" fmla="*/ 1041401 h 1192213"/>
                <a:gd name="connsiteX18" fmla="*/ 0 w 968375"/>
                <a:gd name="connsiteY18" fmla="*/ 1034242 h 1192213"/>
                <a:gd name="connsiteX19" fmla="*/ 0 w 968375"/>
                <a:gd name="connsiteY19" fmla="*/ 939022 h 1192213"/>
                <a:gd name="connsiteX20" fmla="*/ 7161 w 968375"/>
                <a:gd name="connsiteY20" fmla="*/ 931863 h 1192213"/>
                <a:gd name="connsiteX21" fmla="*/ 69850 w 968375"/>
                <a:gd name="connsiteY21" fmla="*/ 811213 h 1192213"/>
                <a:gd name="connsiteX22" fmla="*/ 84138 w 968375"/>
                <a:gd name="connsiteY22" fmla="*/ 811213 h 1192213"/>
                <a:gd name="connsiteX23" fmla="*/ 100013 w 968375"/>
                <a:gd name="connsiteY23" fmla="*/ 811213 h 1192213"/>
                <a:gd name="connsiteX24" fmla="*/ 101600 w 968375"/>
                <a:gd name="connsiteY24" fmla="*/ 811213 h 1192213"/>
                <a:gd name="connsiteX25" fmla="*/ 101600 w 968375"/>
                <a:gd name="connsiteY25" fmla="*/ 900113 h 1192213"/>
                <a:gd name="connsiteX26" fmla="*/ 100013 w 968375"/>
                <a:gd name="connsiteY26" fmla="*/ 900113 h 1192213"/>
                <a:gd name="connsiteX27" fmla="*/ 84138 w 968375"/>
                <a:gd name="connsiteY27" fmla="*/ 900113 h 1192213"/>
                <a:gd name="connsiteX28" fmla="*/ 69850 w 968375"/>
                <a:gd name="connsiteY28" fmla="*/ 900113 h 1192213"/>
                <a:gd name="connsiteX29" fmla="*/ 7161 w 968375"/>
                <a:gd name="connsiteY29" fmla="*/ 671513 h 1192213"/>
                <a:gd name="connsiteX30" fmla="*/ 69458 w 968375"/>
                <a:gd name="connsiteY30" fmla="*/ 671513 h 1192213"/>
                <a:gd name="connsiteX31" fmla="*/ 84496 w 968375"/>
                <a:gd name="connsiteY31" fmla="*/ 671513 h 1192213"/>
                <a:gd name="connsiteX32" fmla="*/ 100249 w 968375"/>
                <a:gd name="connsiteY32" fmla="*/ 671513 h 1192213"/>
                <a:gd name="connsiteX33" fmla="*/ 100965 w 968375"/>
                <a:gd name="connsiteY33" fmla="*/ 671513 h 1192213"/>
                <a:gd name="connsiteX34" fmla="*/ 116003 w 968375"/>
                <a:gd name="connsiteY34" fmla="*/ 671513 h 1192213"/>
                <a:gd name="connsiteX35" fmla="*/ 132472 w 968375"/>
                <a:gd name="connsiteY35" fmla="*/ 671513 h 1192213"/>
                <a:gd name="connsiteX36" fmla="*/ 161115 w 968375"/>
                <a:gd name="connsiteY36" fmla="*/ 671513 h 1192213"/>
                <a:gd name="connsiteX37" fmla="*/ 168275 w 968375"/>
                <a:gd name="connsiteY37" fmla="*/ 678672 h 1192213"/>
                <a:gd name="connsiteX38" fmla="*/ 168275 w 968375"/>
                <a:gd name="connsiteY38" fmla="*/ 773892 h 1192213"/>
                <a:gd name="connsiteX39" fmla="*/ 161115 w 968375"/>
                <a:gd name="connsiteY39" fmla="*/ 781051 h 1192213"/>
                <a:gd name="connsiteX40" fmla="*/ 132472 w 968375"/>
                <a:gd name="connsiteY40" fmla="*/ 781051 h 1192213"/>
                <a:gd name="connsiteX41" fmla="*/ 116003 w 968375"/>
                <a:gd name="connsiteY41" fmla="*/ 781051 h 1192213"/>
                <a:gd name="connsiteX42" fmla="*/ 100965 w 968375"/>
                <a:gd name="connsiteY42" fmla="*/ 781051 h 1192213"/>
                <a:gd name="connsiteX43" fmla="*/ 100249 w 968375"/>
                <a:gd name="connsiteY43" fmla="*/ 781051 h 1192213"/>
                <a:gd name="connsiteX44" fmla="*/ 84496 w 968375"/>
                <a:gd name="connsiteY44" fmla="*/ 781051 h 1192213"/>
                <a:gd name="connsiteX45" fmla="*/ 69458 w 968375"/>
                <a:gd name="connsiteY45" fmla="*/ 781051 h 1192213"/>
                <a:gd name="connsiteX46" fmla="*/ 7161 w 968375"/>
                <a:gd name="connsiteY46" fmla="*/ 781051 h 1192213"/>
                <a:gd name="connsiteX47" fmla="*/ 0 w 968375"/>
                <a:gd name="connsiteY47" fmla="*/ 773892 h 1192213"/>
                <a:gd name="connsiteX48" fmla="*/ 0 w 968375"/>
                <a:gd name="connsiteY48" fmla="*/ 678672 h 1192213"/>
                <a:gd name="connsiteX49" fmla="*/ 7161 w 968375"/>
                <a:gd name="connsiteY49" fmla="*/ 671513 h 1192213"/>
                <a:gd name="connsiteX50" fmla="*/ 69850 w 968375"/>
                <a:gd name="connsiteY50" fmla="*/ 550863 h 1192213"/>
                <a:gd name="connsiteX51" fmla="*/ 84138 w 968375"/>
                <a:gd name="connsiteY51" fmla="*/ 550863 h 1192213"/>
                <a:gd name="connsiteX52" fmla="*/ 100013 w 968375"/>
                <a:gd name="connsiteY52" fmla="*/ 550863 h 1192213"/>
                <a:gd name="connsiteX53" fmla="*/ 101600 w 968375"/>
                <a:gd name="connsiteY53" fmla="*/ 550863 h 1192213"/>
                <a:gd name="connsiteX54" fmla="*/ 101600 w 968375"/>
                <a:gd name="connsiteY54" fmla="*/ 639763 h 1192213"/>
                <a:gd name="connsiteX55" fmla="*/ 100013 w 968375"/>
                <a:gd name="connsiteY55" fmla="*/ 639763 h 1192213"/>
                <a:gd name="connsiteX56" fmla="*/ 84138 w 968375"/>
                <a:gd name="connsiteY56" fmla="*/ 639763 h 1192213"/>
                <a:gd name="connsiteX57" fmla="*/ 69850 w 968375"/>
                <a:gd name="connsiteY57" fmla="*/ 639763 h 1192213"/>
                <a:gd name="connsiteX58" fmla="*/ 7161 w 968375"/>
                <a:gd name="connsiteY58" fmla="*/ 411163 h 1192213"/>
                <a:gd name="connsiteX59" fmla="*/ 69458 w 968375"/>
                <a:gd name="connsiteY59" fmla="*/ 411163 h 1192213"/>
                <a:gd name="connsiteX60" fmla="*/ 84496 w 968375"/>
                <a:gd name="connsiteY60" fmla="*/ 411163 h 1192213"/>
                <a:gd name="connsiteX61" fmla="*/ 100249 w 968375"/>
                <a:gd name="connsiteY61" fmla="*/ 411163 h 1192213"/>
                <a:gd name="connsiteX62" fmla="*/ 100965 w 968375"/>
                <a:gd name="connsiteY62" fmla="*/ 411163 h 1192213"/>
                <a:gd name="connsiteX63" fmla="*/ 116003 w 968375"/>
                <a:gd name="connsiteY63" fmla="*/ 411163 h 1192213"/>
                <a:gd name="connsiteX64" fmla="*/ 132472 w 968375"/>
                <a:gd name="connsiteY64" fmla="*/ 411163 h 1192213"/>
                <a:gd name="connsiteX65" fmla="*/ 161115 w 968375"/>
                <a:gd name="connsiteY65" fmla="*/ 411163 h 1192213"/>
                <a:gd name="connsiteX66" fmla="*/ 168275 w 968375"/>
                <a:gd name="connsiteY66" fmla="*/ 418218 h 1192213"/>
                <a:gd name="connsiteX67" fmla="*/ 168275 w 968375"/>
                <a:gd name="connsiteY67" fmla="*/ 512057 h 1192213"/>
                <a:gd name="connsiteX68" fmla="*/ 161115 w 968375"/>
                <a:gd name="connsiteY68" fmla="*/ 519113 h 1192213"/>
                <a:gd name="connsiteX69" fmla="*/ 132472 w 968375"/>
                <a:gd name="connsiteY69" fmla="*/ 519113 h 1192213"/>
                <a:gd name="connsiteX70" fmla="*/ 116003 w 968375"/>
                <a:gd name="connsiteY70" fmla="*/ 519113 h 1192213"/>
                <a:gd name="connsiteX71" fmla="*/ 100965 w 968375"/>
                <a:gd name="connsiteY71" fmla="*/ 519113 h 1192213"/>
                <a:gd name="connsiteX72" fmla="*/ 100249 w 968375"/>
                <a:gd name="connsiteY72" fmla="*/ 519113 h 1192213"/>
                <a:gd name="connsiteX73" fmla="*/ 84496 w 968375"/>
                <a:gd name="connsiteY73" fmla="*/ 519113 h 1192213"/>
                <a:gd name="connsiteX74" fmla="*/ 69458 w 968375"/>
                <a:gd name="connsiteY74" fmla="*/ 519113 h 1192213"/>
                <a:gd name="connsiteX75" fmla="*/ 7161 w 968375"/>
                <a:gd name="connsiteY75" fmla="*/ 519113 h 1192213"/>
                <a:gd name="connsiteX76" fmla="*/ 0 w 968375"/>
                <a:gd name="connsiteY76" fmla="*/ 512057 h 1192213"/>
                <a:gd name="connsiteX77" fmla="*/ 0 w 968375"/>
                <a:gd name="connsiteY77" fmla="*/ 418218 h 1192213"/>
                <a:gd name="connsiteX78" fmla="*/ 7161 w 968375"/>
                <a:gd name="connsiteY78" fmla="*/ 411163 h 1192213"/>
                <a:gd name="connsiteX79" fmla="*/ 599481 w 968375"/>
                <a:gd name="connsiteY79" fmla="*/ 377825 h 1192213"/>
                <a:gd name="connsiteX80" fmla="*/ 439365 w 968375"/>
                <a:gd name="connsiteY80" fmla="*/ 480546 h 1192213"/>
                <a:gd name="connsiteX81" fmla="*/ 496549 w 968375"/>
                <a:gd name="connsiteY81" fmla="*/ 682421 h 1192213"/>
                <a:gd name="connsiteX82" fmla="*/ 496549 w 968375"/>
                <a:gd name="connsiteY82" fmla="*/ 778721 h 1192213"/>
                <a:gd name="connsiteX83" fmla="*/ 502268 w 968375"/>
                <a:gd name="connsiteY83" fmla="*/ 787995 h 1192213"/>
                <a:gd name="connsiteX84" fmla="*/ 654521 w 968375"/>
                <a:gd name="connsiteY84" fmla="*/ 814388 h 1192213"/>
                <a:gd name="connsiteX85" fmla="*/ 663814 w 968375"/>
                <a:gd name="connsiteY85" fmla="*/ 805115 h 1192213"/>
                <a:gd name="connsiteX86" fmla="*/ 663814 w 968375"/>
                <a:gd name="connsiteY86" fmla="*/ 738774 h 1192213"/>
                <a:gd name="connsiteX87" fmla="*/ 741728 w 968375"/>
                <a:gd name="connsiteY87" fmla="*/ 733781 h 1192213"/>
                <a:gd name="connsiteX88" fmla="*/ 754594 w 968375"/>
                <a:gd name="connsiteY88" fmla="*/ 690981 h 1192213"/>
                <a:gd name="connsiteX89" fmla="*/ 755309 w 968375"/>
                <a:gd name="connsiteY89" fmla="*/ 688127 h 1192213"/>
                <a:gd name="connsiteX90" fmla="*/ 752450 w 968375"/>
                <a:gd name="connsiteY90" fmla="*/ 636054 h 1192213"/>
                <a:gd name="connsiteX91" fmla="*/ 791049 w 968375"/>
                <a:gd name="connsiteY91" fmla="*/ 614653 h 1192213"/>
                <a:gd name="connsiteX92" fmla="*/ 773894 w 968375"/>
                <a:gd name="connsiteY92" fmla="*/ 579700 h 1192213"/>
                <a:gd name="connsiteX93" fmla="*/ 770320 w 968375"/>
                <a:gd name="connsiteY93" fmla="*/ 576133 h 1192213"/>
                <a:gd name="connsiteX94" fmla="*/ 754594 w 968375"/>
                <a:gd name="connsiteY94" fmla="*/ 544033 h 1192213"/>
                <a:gd name="connsiteX95" fmla="*/ 750305 w 968375"/>
                <a:gd name="connsiteY95" fmla="*/ 527626 h 1192213"/>
                <a:gd name="connsiteX96" fmla="*/ 743872 w 968375"/>
                <a:gd name="connsiteY96" fmla="*/ 503373 h 1192213"/>
                <a:gd name="connsiteX97" fmla="*/ 738869 w 968375"/>
                <a:gd name="connsiteY97" fmla="*/ 458432 h 1192213"/>
                <a:gd name="connsiteX98" fmla="*/ 743157 w 968375"/>
                <a:gd name="connsiteY98" fmla="*/ 459859 h 1192213"/>
                <a:gd name="connsiteX99" fmla="*/ 744587 w 968375"/>
                <a:gd name="connsiteY99" fmla="*/ 458432 h 1192213"/>
                <a:gd name="connsiteX100" fmla="*/ 771035 w 968375"/>
                <a:gd name="connsiteY100" fmla="*/ 402792 h 1192213"/>
                <a:gd name="connsiteX101" fmla="*/ 599481 w 968375"/>
                <a:gd name="connsiteY101" fmla="*/ 377825 h 1192213"/>
                <a:gd name="connsiteX102" fmla="*/ 69850 w 968375"/>
                <a:gd name="connsiteY102" fmla="*/ 290513 h 1192213"/>
                <a:gd name="connsiteX103" fmla="*/ 84138 w 968375"/>
                <a:gd name="connsiteY103" fmla="*/ 290513 h 1192213"/>
                <a:gd name="connsiteX104" fmla="*/ 100013 w 968375"/>
                <a:gd name="connsiteY104" fmla="*/ 290513 h 1192213"/>
                <a:gd name="connsiteX105" fmla="*/ 101600 w 968375"/>
                <a:gd name="connsiteY105" fmla="*/ 290513 h 1192213"/>
                <a:gd name="connsiteX106" fmla="*/ 101600 w 968375"/>
                <a:gd name="connsiteY106" fmla="*/ 379413 h 1192213"/>
                <a:gd name="connsiteX107" fmla="*/ 100013 w 968375"/>
                <a:gd name="connsiteY107" fmla="*/ 379413 h 1192213"/>
                <a:gd name="connsiteX108" fmla="*/ 84138 w 968375"/>
                <a:gd name="connsiteY108" fmla="*/ 379413 h 1192213"/>
                <a:gd name="connsiteX109" fmla="*/ 69850 w 968375"/>
                <a:gd name="connsiteY109" fmla="*/ 379413 h 1192213"/>
                <a:gd name="connsiteX110" fmla="*/ 7161 w 968375"/>
                <a:gd name="connsiteY110" fmla="*/ 150813 h 1192213"/>
                <a:gd name="connsiteX111" fmla="*/ 69458 w 968375"/>
                <a:gd name="connsiteY111" fmla="*/ 150813 h 1192213"/>
                <a:gd name="connsiteX112" fmla="*/ 84496 w 968375"/>
                <a:gd name="connsiteY112" fmla="*/ 150813 h 1192213"/>
                <a:gd name="connsiteX113" fmla="*/ 100249 w 968375"/>
                <a:gd name="connsiteY113" fmla="*/ 150813 h 1192213"/>
                <a:gd name="connsiteX114" fmla="*/ 100965 w 968375"/>
                <a:gd name="connsiteY114" fmla="*/ 150813 h 1192213"/>
                <a:gd name="connsiteX115" fmla="*/ 116003 w 968375"/>
                <a:gd name="connsiteY115" fmla="*/ 150813 h 1192213"/>
                <a:gd name="connsiteX116" fmla="*/ 132472 w 968375"/>
                <a:gd name="connsiteY116" fmla="*/ 150813 h 1192213"/>
                <a:gd name="connsiteX117" fmla="*/ 161115 w 968375"/>
                <a:gd name="connsiteY117" fmla="*/ 150813 h 1192213"/>
                <a:gd name="connsiteX118" fmla="*/ 168275 w 968375"/>
                <a:gd name="connsiteY118" fmla="*/ 157868 h 1192213"/>
                <a:gd name="connsiteX119" fmla="*/ 168275 w 968375"/>
                <a:gd name="connsiteY119" fmla="*/ 251707 h 1192213"/>
                <a:gd name="connsiteX120" fmla="*/ 161115 w 968375"/>
                <a:gd name="connsiteY120" fmla="*/ 258763 h 1192213"/>
                <a:gd name="connsiteX121" fmla="*/ 132472 w 968375"/>
                <a:gd name="connsiteY121" fmla="*/ 258763 h 1192213"/>
                <a:gd name="connsiteX122" fmla="*/ 116003 w 968375"/>
                <a:gd name="connsiteY122" fmla="*/ 258763 h 1192213"/>
                <a:gd name="connsiteX123" fmla="*/ 100965 w 968375"/>
                <a:gd name="connsiteY123" fmla="*/ 258763 h 1192213"/>
                <a:gd name="connsiteX124" fmla="*/ 100249 w 968375"/>
                <a:gd name="connsiteY124" fmla="*/ 258763 h 1192213"/>
                <a:gd name="connsiteX125" fmla="*/ 84496 w 968375"/>
                <a:gd name="connsiteY125" fmla="*/ 258763 h 1192213"/>
                <a:gd name="connsiteX126" fmla="*/ 69458 w 968375"/>
                <a:gd name="connsiteY126" fmla="*/ 258763 h 1192213"/>
                <a:gd name="connsiteX127" fmla="*/ 7161 w 968375"/>
                <a:gd name="connsiteY127" fmla="*/ 258763 h 1192213"/>
                <a:gd name="connsiteX128" fmla="*/ 0 w 968375"/>
                <a:gd name="connsiteY128" fmla="*/ 251707 h 1192213"/>
                <a:gd name="connsiteX129" fmla="*/ 0 w 968375"/>
                <a:gd name="connsiteY129" fmla="*/ 157868 h 1192213"/>
                <a:gd name="connsiteX130" fmla="*/ 7161 w 968375"/>
                <a:gd name="connsiteY130" fmla="*/ 150813 h 1192213"/>
                <a:gd name="connsiteX131" fmla="*/ 328613 w 968375"/>
                <a:gd name="connsiteY131" fmla="*/ 63500 h 1192213"/>
                <a:gd name="connsiteX132" fmla="*/ 906463 w 968375"/>
                <a:gd name="connsiteY132" fmla="*/ 63500 h 1192213"/>
                <a:gd name="connsiteX133" fmla="*/ 906463 w 968375"/>
                <a:gd name="connsiteY133" fmla="*/ 1128713 h 1192213"/>
                <a:gd name="connsiteX134" fmla="*/ 328613 w 968375"/>
                <a:gd name="connsiteY134" fmla="*/ 1128713 h 1192213"/>
                <a:gd name="connsiteX135" fmla="*/ 133350 w 968375"/>
                <a:gd name="connsiteY135" fmla="*/ 63500 h 1192213"/>
                <a:gd name="connsiteX136" fmla="*/ 296863 w 968375"/>
                <a:gd name="connsiteY136" fmla="*/ 63500 h 1192213"/>
                <a:gd name="connsiteX137" fmla="*/ 296863 w 968375"/>
                <a:gd name="connsiteY137" fmla="*/ 1128713 h 1192213"/>
                <a:gd name="connsiteX138" fmla="*/ 133350 w 968375"/>
                <a:gd name="connsiteY138" fmla="*/ 1128713 h 1192213"/>
                <a:gd name="connsiteX139" fmla="*/ 133350 w 968375"/>
                <a:gd name="connsiteY139" fmla="*/ 1071674 h 1192213"/>
                <a:gd name="connsiteX140" fmla="*/ 161664 w 968375"/>
                <a:gd name="connsiteY140" fmla="*/ 1071674 h 1192213"/>
                <a:gd name="connsiteX141" fmla="*/ 199888 w 968375"/>
                <a:gd name="connsiteY141" fmla="*/ 1033172 h 1192213"/>
                <a:gd name="connsiteX142" fmla="*/ 199888 w 968375"/>
                <a:gd name="connsiteY142" fmla="*/ 938344 h 1192213"/>
                <a:gd name="connsiteX143" fmla="*/ 161664 w 968375"/>
                <a:gd name="connsiteY143" fmla="*/ 899842 h 1192213"/>
                <a:gd name="connsiteX144" fmla="*/ 133350 w 968375"/>
                <a:gd name="connsiteY144" fmla="*/ 899842 h 1192213"/>
                <a:gd name="connsiteX145" fmla="*/ 133350 w 968375"/>
                <a:gd name="connsiteY145" fmla="*/ 811431 h 1192213"/>
                <a:gd name="connsiteX146" fmla="*/ 161664 w 968375"/>
                <a:gd name="connsiteY146" fmla="*/ 811431 h 1192213"/>
                <a:gd name="connsiteX147" fmla="*/ 199888 w 968375"/>
                <a:gd name="connsiteY147" fmla="*/ 772929 h 1192213"/>
                <a:gd name="connsiteX148" fmla="*/ 199888 w 968375"/>
                <a:gd name="connsiteY148" fmla="*/ 678101 h 1192213"/>
                <a:gd name="connsiteX149" fmla="*/ 161664 w 968375"/>
                <a:gd name="connsiteY149" fmla="*/ 639599 h 1192213"/>
                <a:gd name="connsiteX150" fmla="*/ 133350 w 968375"/>
                <a:gd name="connsiteY150" fmla="*/ 639599 h 1192213"/>
                <a:gd name="connsiteX151" fmla="*/ 133350 w 968375"/>
                <a:gd name="connsiteY151" fmla="*/ 551188 h 1192213"/>
                <a:gd name="connsiteX152" fmla="*/ 161664 w 968375"/>
                <a:gd name="connsiteY152" fmla="*/ 551188 h 1192213"/>
                <a:gd name="connsiteX153" fmla="*/ 199888 w 968375"/>
                <a:gd name="connsiteY153" fmla="*/ 512686 h 1192213"/>
                <a:gd name="connsiteX154" fmla="*/ 199888 w 968375"/>
                <a:gd name="connsiteY154" fmla="*/ 417858 h 1192213"/>
                <a:gd name="connsiteX155" fmla="*/ 161664 w 968375"/>
                <a:gd name="connsiteY155" fmla="*/ 379356 h 1192213"/>
                <a:gd name="connsiteX156" fmla="*/ 133350 w 968375"/>
                <a:gd name="connsiteY156" fmla="*/ 379356 h 1192213"/>
                <a:gd name="connsiteX157" fmla="*/ 133350 w 968375"/>
                <a:gd name="connsiteY157" fmla="*/ 290945 h 1192213"/>
                <a:gd name="connsiteX158" fmla="*/ 161664 w 968375"/>
                <a:gd name="connsiteY158" fmla="*/ 290945 h 1192213"/>
                <a:gd name="connsiteX159" fmla="*/ 199888 w 968375"/>
                <a:gd name="connsiteY159" fmla="*/ 252443 h 1192213"/>
                <a:gd name="connsiteX160" fmla="*/ 199888 w 968375"/>
                <a:gd name="connsiteY160" fmla="*/ 157615 h 1192213"/>
                <a:gd name="connsiteX161" fmla="*/ 161664 w 968375"/>
                <a:gd name="connsiteY161" fmla="*/ 119113 h 1192213"/>
                <a:gd name="connsiteX162" fmla="*/ 133350 w 968375"/>
                <a:gd name="connsiteY162" fmla="*/ 119113 h 1192213"/>
                <a:gd name="connsiteX163" fmla="*/ 133350 w 968375"/>
                <a:gd name="connsiteY163" fmla="*/ 63500 h 1192213"/>
                <a:gd name="connsiteX164" fmla="*/ 85564 w 968375"/>
                <a:gd name="connsiteY164" fmla="*/ 0 h 1192213"/>
                <a:gd name="connsiteX165" fmla="*/ 952662 w 968375"/>
                <a:gd name="connsiteY165" fmla="*/ 0 h 1192213"/>
                <a:gd name="connsiteX166" fmla="*/ 968375 w 968375"/>
                <a:gd name="connsiteY166" fmla="*/ 15706 h 1192213"/>
                <a:gd name="connsiteX167" fmla="*/ 968375 w 968375"/>
                <a:gd name="connsiteY167" fmla="*/ 1176507 h 1192213"/>
                <a:gd name="connsiteX168" fmla="*/ 952662 w 968375"/>
                <a:gd name="connsiteY168" fmla="*/ 1192213 h 1192213"/>
                <a:gd name="connsiteX169" fmla="*/ 85564 w 968375"/>
                <a:gd name="connsiteY169" fmla="*/ 1192213 h 1192213"/>
                <a:gd name="connsiteX170" fmla="*/ 69850 w 968375"/>
                <a:gd name="connsiteY170" fmla="*/ 1176507 h 1192213"/>
                <a:gd name="connsiteX171" fmla="*/ 69850 w 968375"/>
                <a:gd name="connsiteY171" fmla="*/ 1072278 h 1192213"/>
                <a:gd name="connsiteX172" fmla="*/ 84849 w 968375"/>
                <a:gd name="connsiteY172" fmla="*/ 1072278 h 1192213"/>
                <a:gd name="connsiteX173" fmla="*/ 100563 w 968375"/>
                <a:gd name="connsiteY173" fmla="*/ 1072278 h 1192213"/>
                <a:gd name="connsiteX174" fmla="*/ 101277 w 968375"/>
                <a:gd name="connsiteY174" fmla="*/ 1072278 h 1192213"/>
                <a:gd name="connsiteX175" fmla="*/ 101277 w 968375"/>
                <a:gd name="connsiteY175" fmla="*/ 1145096 h 1192213"/>
                <a:gd name="connsiteX176" fmla="*/ 101277 w 968375"/>
                <a:gd name="connsiteY176" fmla="*/ 1160802 h 1192213"/>
                <a:gd name="connsiteX177" fmla="*/ 116991 w 968375"/>
                <a:gd name="connsiteY177" fmla="*/ 1160802 h 1192213"/>
                <a:gd name="connsiteX178" fmla="*/ 313409 w 968375"/>
                <a:gd name="connsiteY178" fmla="*/ 1160802 h 1192213"/>
                <a:gd name="connsiteX179" fmla="*/ 329123 w 968375"/>
                <a:gd name="connsiteY179" fmla="*/ 1160802 h 1192213"/>
                <a:gd name="connsiteX180" fmla="*/ 921235 w 968375"/>
                <a:gd name="connsiteY180" fmla="*/ 1160802 h 1192213"/>
                <a:gd name="connsiteX181" fmla="*/ 936948 w 968375"/>
                <a:gd name="connsiteY181" fmla="*/ 1160802 h 1192213"/>
                <a:gd name="connsiteX182" fmla="*/ 936948 w 968375"/>
                <a:gd name="connsiteY182" fmla="*/ 1145096 h 1192213"/>
                <a:gd name="connsiteX183" fmla="*/ 936948 w 968375"/>
                <a:gd name="connsiteY183" fmla="*/ 47117 h 1192213"/>
                <a:gd name="connsiteX184" fmla="*/ 936948 w 968375"/>
                <a:gd name="connsiteY184" fmla="*/ 31411 h 1192213"/>
                <a:gd name="connsiteX185" fmla="*/ 329123 w 968375"/>
                <a:gd name="connsiteY185" fmla="*/ 31411 h 1192213"/>
                <a:gd name="connsiteX186" fmla="*/ 313409 w 968375"/>
                <a:gd name="connsiteY186" fmla="*/ 31411 h 1192213"/>
                <a:gd name="connsiteX187" fmla="*/ 101277 w 968375"/>
                <a:gd name="connsiteY187" fmla="*/ 31411 h 1192213"/>
                <a:gd name="connsiteX188" fmla="*/ 101277 w 968375"/>
                <a:gd name="connsiteY188" fmla="*/ 47117 h 1192213"/>
                <a:gd name="connsiteX189" fmla="*/ 101277 w 968375"/>
                <a:gd name="connsiteY189" fmla="*/ 118507 h 1192213"/>
                <a:gd name="connsiteX190" fmla="*/ 100563 w 968375"/>
                <a:gd name="connsiteY190" fmla="*/ 118507 h 1192213"/>
                <a:gd name="connsiteX191" fmla="*/ 84849 w 968375"/>
                <a:gd name="connsiteY191" fmla="*/ 118507 h 1192213"/>
                <a:gd name="connsiteX192" fmla="*/ 69850 w 968375"/>
                <a:gd name="connsiteY192" fmla="*/ 118507 h 1192213"/>
                <a:gd name="connsiteX193" fmla="*/ 69850 w 968375"/>
                <a:gd name="connsiteY193" fmla="*/ 15706 h 1192213"/>
                <a:gd name="connsiteX194" fmla="*/ 85564 w 968375"/>
                <a:gd name="connsiteY194" fmla="*/ 0 h 119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968375" h="1192213">
                  <a:moveTo>
                    <a:pt x="7161" y="931863"/>
                  </a:moveTo>
                  <a:cubicBezTo>
                    <a:pt x="7161" y="931863"/>
                    <a:pt x="17186" y="931863"/>
                    <a:pt x="69458" y="931863"/>
                  </a:cubicBezTo>
                  <a:cubicBezTo>
                    <a:pt x="73755" y="931863"/>
                    <a:pt x="78767" y="931863"/>
                    <a:pt x="84496" y="931863"/>
                  </a:cubicBezTo>
                  <a:cubicBezTo>
                    <a:pt x="89508" y="931863"/>
                    <a:pt x="94521" y="931863"/>
                    <a:pt x="100249" y="931863"/>
                  </a:cubicBezTo>
                  <a:cubicBezTo>
                    <a:pt x="100249" y="931863"/>
                    <a:pt x="100249" y="931863"/>
                    <a:pt x="100965" y="931863"/>
                  </a:cubicBezTo>
                  <a:cubicBezTo>
                    <a:pt x="105262" y="931863"/>
                    <a:pt x="110274" y="931863"/>
                    <a:pt x="116003" y="931863"/>
                  </a:cubicBezTo>
                  <a:cubicBezTo>
                    <a:pt x="121015" y="931863"/>
                    <a:pt x="126744" y="931863"/>
                    <a:pt x="132472" y="931863"/>
                  </a:cubicBezTo>
                  <a:cubicBezTo>
                    <a:pt x="141065" y="931863"/>
                    <a:pt x="151090" y="931863"/>
                    <a:pt x="161115" y="931863"/>
                  </a:cubicBezTo>
                  <a:cubicBezTo>
                    <a:pt x="165411" y="931863"/>
                    <a:pt x="168275" y="934727"/>
                    <a:pt x="168275" y="939022"/>
                  </a:cubicBezTo>
                  <a:cubicBezTo>
                    <a:pt x="168275" y="939022"/>
                    <a:pt x="168275" y="939022"/>
                    <a:pt x="168275" y="1034242"/>
                  </a:cubicBezTo>
                  <a:cubicBezTo>
                    <a:pt x="168275" y="1038537"/>
                    <a:pt x="165411" y="1041401"/>
                    <a:pt x="161115" y="1041401"/>
                  </a:cubicBezTo>
                  <a:cubicBezTo>
                    <a:pt x="161115" y="1041401"/>
                    <a:pt x="156102" y="1041401"/>
                    <a:pt x="132472" y="1041401"/>
                  </a:cubicBezTo>
                  <a:cubicBezTo>
                    <a:pt x="127460" y="1041401"/>
                    <a:pt x="122447" y="1041401"/>
                    <a:pt x="116003" y="1041401"/>
                  </a:cubicBezTo>
                  <a:cubicBezTo>
                    <a:pt x="110990" y="1041401"/>
                    <a:pt x="105978" y="1041401"/>
                    <a:pt x="100965" y="1041401"/>
                  </a:cubicBezTo>
                  <a:cubicBezTo>
                    <a:pt x="100249" y="1041401"/>
                    <a:pt x="100249" y="1041401"/>
                    <a:pt x="100249" y="1041401"/>
                  </a:cubicBezTo>
                  <a:cubicBezTo>
                    <a:pt x="95237" y="1041401"/>
                    <a:pt x="90224" y="1041401"/>
                    <a:pt x="84496" y="1041401"/>
                  </a:cubicBezTo>
                  <a:cubicBezTo>
                    <a:pt x="79483" y="1041401"/>
                    <a:pt x="74471" y="1041401"/>
                    <a:pt x="69458" y="1041401"/>
                  </a:cubicBezTo>
                  <a:cubicBezTo>
                    <a:pt x="51557" y="1041401"/>
                    <a:pt x="31507" y="1041401"/>
                    <a:pt x="7161" y="1041401"/>
                  </a:cubicBezTo>
                  <a:cubicBezTo>
                    <a:pt x="2865" y="1041401"/>
                    <a:pt x="0" y="1038537"/>
                    <a:pt x="0" y="1034242"/>
                  </a:cubicBezTo>
                  <a:cubicBezTo>
                    <a:pt x="0" y="1034242"/>
                    <a:pt x="0" y="1034242"/>
                    <a:pt x="0" y="939022"/>
                  </a:cubicBezTo>
                  <a:cubicBezTo>
                    <a:pt x="0" y="934727"/>
                    <a:pt x="2865" y="931863"/>
                    <a:pt x="7161" y="931863"/>
                  </a:cubicBezTo>
                  <a:close/>
                  <a:moveTo>
                    <a:pt x="69850" y="811213"/>
                  </a:moveTo>
                  <a:lnTo>
                    <a:pt x="84138" y="811213"/>
                  </a:lnTo>
                  <a:lnTo>
                    <a:pt x="100013" y="811213"/>
                  </a:lnTo>
                  <a:lnTo>
                    <a:pt x="101600" y="811213"/>
                  </a:lnTo>
                  <a:lnTo>
                    <a:pt x="101600" y="900113"/>
                  </a:lnTo>
                  <a:lnTo>
                    <a:pt x="100013" y="900113"/>
                  </a:lnTo>
                  <a:lnTo>
                    <a:pt x="84138" y="900113"/>
                  </a:lnTo>
                  <a:lnTo>
                    <a:pt x="69850" y="900113"/>
                  </a:lnTo>
                  <a:close/>
                  <a:moveTo>
                    <a:pt x="7161" y="671513"/>
                  </a:moveTo>
                  <a:cubicBezTo>
                    <a:pt x="7161" y="671513"/>
                    <a:pt x="17186" y="671513"/>
                    <a:pt x="69458" y="671513"/>
                  </a:cubicBezTo>
                  <a:cubicBezTo>
                    <a:pt x="73755" y="671513"/>
                    <a:pt x="78767" y="671513"/>
                    <a:pt x="84496" y="671513"/>
                  </a:cubicBezTo>
                  <a:cubicBezTo>
                    <a:pt x="89508" y="671513"/>
                    <a:pt x="94521" y="671513"/>
                    <a:pt x="100249" y="671513"/>
                  </a:cubicBezTo>
                  <a:cubicBezTo>
                    <a:pt x="100249" y="671513"/>
                    <a:pt x="100249" y="671513"/>
                    <a:pt x="100965" y="671513"/>
                  </a:cubicBezTo>
                  <a:cubicBezTo>
                    <a:pt x="105262" y="671513"/>
                    <a:pt x="110274" y="671513"/>
                    <a:pt x="116003" y="671513"/>
                  </a:cubicBezTo>
                  <a:cubicBezTo>
                    <a:pt x="121015" y="671513"/>
                    <a:pt x="126744" y="671513"/>
                    <a:pt x="132472" y="671513"/>
                  </a:cubicBezTo>
                  <a:cubicBezTo>
                    <a:pt x="141065" y="671513"/>
                    <a:pt x="151090" y="671513"/>
                    <a:pt x="161115" y="671513"/>
                  </a:cubicBezTo>
                  <a:cubicBezTo>
                    <a:pt x="165411" y="671513"/>
                    <a:pt x="168275" y="675093"/>
                    <a:pt x="168275" y="678672"/>
                  </a:cubicBezTo>
                  <a:cubicBezTo>
                    <a:pt x="168275" y="678672"/>
                    <a:pt x="168275" y="678672"/>
                    <a:pt x="168275" y="773892"/>
                  </a:cubicBezTo>
                  <a:cubicBezTo>
                    <a:pt x="168275" y="777471"/>
                    <a:pt x="165411" y="781051"/>
                    <a:pt x="161115" y="781051"/>
                  </a:cubicBezTo>
                  <a:cubicBezTo>
                    <a:pt x="161115" y="781051"/>
                    <a:pt x="156102" y="781051"/>
                    <a:pt x="132472" y="781051"/>
                  </a:cubicBezTo>
                  <a:cubicBezTo>
                    <a:pt x="127460" y="781051"/>
                    <a:pt x="122447" y="781051"/>
                    <a:pt x="116003" y="781051"/>
                  </a:cubicBezTo>
                  <a:cubicBezTo>
                    <a:pt x="110990" y="781051"/>
                    <a:pt x="105978" y="781051"/>
                    <a:pt x="100965" y="781051"/>
                  </a:cubicBezTo>
                  <a:cubicBezTo>
                    <a:pt x="100249" y="781051"/>
                    <a:pt x="100249" y="781051"/>
                    <a:pt x="100249" y="781051"/>
                  </a:cubicBezTo>
                  <a:cubicBezTo>
                    <a:pt x="95237" y="781051"/>
                    <a:pt x="90224" y="781051"/>
                    <a:pt x="84496" y="781051"/>
                  </a:cubicBezTo>
                  <a:cubicBezTo>
                    <a:pt x="79483" y="781051"/>
                    <a:pt x="74471" y="781051"/>
                    <a:pt x="69458" y="781051"/>
                  </a:cubicBezTo>
                  <a:cubicBezTo>
                    <a:pt x="51557" y="781051"/>
                    <a:pt x="31507" y="781051"/>
                    <a:pt x="7161" y="781051"/>
                  </a:cubicBezTo>
                  <a:cubicBezTo>
                    <a:pt x="2865" y="781051"/>
                    <a:pt x="0" y="777471"/>
                    <a:pt x="0" y="773892"/>
                  </a:cubicBezTo>
                  <a:cubicBezTo>
                    <a:pt x="0" y="773892"/>
                    <a:pt x="0" y="773892"/>
                    <a:pt x="0" y="678672"/>
                  </a:cubicBezTo>
                  <a:cubicBezTo>
                    <a:pt x="0" y="675093"/>
                    <a:pt x="2865" y="671513"/>
                    <a:pt x="7161" y="671513"/>
                  </a:cubicBezTo>
                  <a:close/>
                  <a:moveTo>
                    <a:pt x="69850" y="550863"/>
                  </a:moveTo>
                  <a:lnTo>
                    <a:pt x="84138" y="550863"/>
                  </a:lnTo>
                  <a:lnTo>
                    <a:pt x="100013" y="550863"/>
                  </a:lnTo>
                  <a:lnTo>
                    <a:pt x="101600" y="550863"/>
                  </a:lnTo>
                  <a:lnTo>
                    <a:pt x="101600" y="639763"/>
                  </a:lnTo>
                  <a:lnTo>
                    <a:pt x="100013" y="639763"/>
                  </a:lnTo>
                  <a:lnTo>
                    <a:pt x="84138" y="639763"/>
                  </a:lnTo>
                  <a:lnTo>
                    <a:pt x="69850" y="639763"/>
                  </a:lnTo>
                  <a:close/>
                  <a:moveTo>
                    <a:pt x="7161" y="411163"/>
                  </a:moveTo>
                  <a:cubicBezTo>
                    <a:pt x="7161" y="411163"/>
                    <a:pt x="17186" y="411163"/>
                    <a:pt x="69458" y="411163"/>
                  </a:cubicBezTo>
                  <a:cubicBezTo>
                    <a:pt x="73755" y="411163"/>
                    <a:pt x="78767" y="411163"/>
                    <a:pt x="84496" y="411163"/>
                  </a:cubicBezTo>
                  <a:cubicBezTo>
                    <a:pt x="89508" y="411163"/>
                    <a:pt x="94521" y="411163"/>
                    <a:pt x="100249" y="411163"/>
                  </a:cubicBezTo>
                  <a:cubicBezTo>
                    <a:pt x="100249" y="411163"/>
                    <a:pt x="100249" y="411163"/>
                    <a:pt x="100965" y="411163"/>
                  </a:cubicBezTo>
                  <a:cubicBezTo>
                    <a:pt x="105262" y="411163"/>
                    <a:pt x="110274" y="411163"/>
                    <a:pt x="116003" y="411163"/>
                  </a:cubicBezTo>
                  <a:cubicBezTo>
                    <a:pt x="121015" y="411163"/>
                    <a:pt x="126744" y="411163"/>
                    <a:pt x="132472" y="411163"/>
                  </a:cubicBezTo>
                  <a:cubicBezTo>
                    <a:pt x="141065" y="411163"/>
                    <a:pt x="151090" y="411163"/>
                    <a:pt x="161115" y="411163"/>
                  </a:cubicBezTo>
                  <a:cubicBezTo>
                    <a:pt x="165411" y="411163"/>
                    <a:pt x="168275" y="414691"/>
                    <a:pt x="168275" y="418218"/>
                  </a:cubicBezTo>
                  <a:cubicBezTo>
                    <a:pt x="168275" y="418218"/>
                    <a:pt x="168275" y="418218"/>
                    <a:pt x="168275" y="512057"/>
                  </a:cubicBezTo>
                  <a:cubicBezTo>
                    <a:pt x="168275" y="515585"/>
                    <a:pt x="165411" y="519113"/>
                    <a:pt x="161115" y="519113"/>
                  </a:cubicBezTo>
                  <a:cubicBezTo>
                    <a:pt x="161115" y="519113"/>
                    <a:pt x="156102" y="519113"/>
                    <a:pt x="132472" y="519113"/>
                  </a:cubicBezTo>
                  <a:cubicBezTo>
                    <a:pt x="127460" y="519113"/>
                    <a:pt x="122447" y="519113"/>
                    <a:pt x="116003" y="519113"/>
                  </a:cubicBezTo>
                  <a:cubicBezTo>
                    <a:pt x="110990" y="519113"/>
                    <a:pt x="105978" y="519113"/>
                    <a:pt x="100965" y="519113"/>
                  </a:cubicBezTo>
                  <a:cubicBezTo>
                    <a:pt x="100249" y="519113"/>
                    <a:pt x="100249" y="519113"/>
                    <a:pt x="100249" y="519113"/>
                  </a:cubicBezTo>
                  <a:cubicBezTo>
                    <a:pt x="95237" y="519113"/>
                    <a:pt x="90224" y="519113"/>
                    <a:pt x="84496" y="519113"/>
                  </a:cubicBezTo>
                  <a:cubicBezTo>
                    <a:pt x="79483" y="519113"/>
                    <a:pt x="74471" y="519113"/>
                    <a:pt x="69458" y="519113"/>
                  </a:cubicBezTo>
                  <a:cubicBezTo>
                    <a:pt x="51557" y="519113"/>
                    <a:pt x="31507" y="519113"/>
                    <a:pt x="7161" y="519113"/>
                  </a:cubicBezTo>
                  <a:cubicBezTo>
                    <a:pt x="2865" y="519113"/>
                    <a:pt x="0" y="515585"/>
                    <a:pt x="0" y="512057"/>
                  </a:cubicBezTo>
                  <a:cubicBezTo>
                    <a:pt x="0" y="512057"/>
                    <a:pt x="0" y="512057"/>
                    <a:pt x="0" y="418218"/>
                  </a:cubicBezTo>
                  <a:cubicBezTo>
                    <a:pt x="0" y="414691"/>
                    <a:pt x="2865" y="411163"/>
                    <a:pt x="7161" y="411163"/>
                  </a:cubicBezTo>
                  <a:close/>
                  <a:moveTo>
                    <a:pt x="599481" y="377825"/>
                  </a:moveTo>
                  <a:cubicBezTo>
                    <a:pt x="507986" y="377825"/>
                    <a:pt x="462238" y="433466"/>
                    <a:pt x="439365" y="480546"/>
                  </a:cubicBezTo>
                  <a:cubicBezTo>
                    <a:pt x="400050" y="564720"/>
                    <a:pt x="465098" y="648894"/>
                    <a:pt x="496549" y="682421"/>
                  </a:cubicBezTo>
                  <a:cubicBezTo>
                    <a:pt x="496549" y="682421"/>
                    <a:pt x="496549" y="682421"/>
                    <a:pt x="496549" y="778721"/>
                  </a:cubicBezTo>
                  <a:cubicBezTo>
                    <a:pt x="496549" y="783001"/>
                    <a:pt x="498694" y="786568"/>
                    <a:pt x="502268" y="787995"/>
                  </a:cubicBezTo>
                  <a:cubicBezTo>
                    <a:pt x="565885" y="813675"/>
                    <a:pt x="647373" y="814388"/>
                    <a:pt x="654521" y="814388"/>
                  </a:cubicBezTo>
                  <a:cubicBezTo>
                    <a:pt x="660240" y="814388"/>
                    <a:pt x="663814" y="809395"/>
                    <a:pt x="663814" y="805115"/>
                  </a:cubicBezTo>
                  <a:cubicBezTo>
                    <a:pt x="663814" y="805115"/>
                    <a:pt x="663814" y="805115"/>
                    <a:pt x="663814" y="738774"/>
                  </a:cubicBezTo>
                  <a:cubicBezTo>
                    <a:pt x="703843" y="742341"/>
                    <a:pt x="733150" y="738774"/>
                    <a:pt x="741728" y="733781"/>
                  </a:cubicBezTo>
                  <a:cubicBezTo>
                    <a:pt x="752450" y="728074"/>
                    <a:pt x="753165" y="715234"/>
                    <a:pt x="754594" y="690981"/>
                  </a:cubicBezTo>
                  <a:cubicBezTo>
                    <a:pt x="754594" y="690981"/>
                    <a:pt x="754594" y="690981"/>
                    <a:pt x="755309" y="688127"/>
                  </a:cubicBezTo>
                  <a:cubicBezTo>
                    <a:pt x="756024" y="672434"/>
                    <a:pt x="753879" y="649607"/>
                    <a:pt x="752450" y="636054"/>
                  </a:cubicBezTo>
                  <a:cubicBezTo>
                    <a:pt x="781757" y="635340"/>
                    <a:pt x="790335" y="619647"/>
                    <a:pt x="791049" y="614653"/>
                  </a:cubicBezTo>
                  <a:cubicBezTo>
                    <a:pt x="795338" y="603240"/>
                    <a:pt x="784616" y="591827"/>
                    <a:pt x="773894" y="579700"/>
                  </a:cubicBezTo>
                  <a:cubicBezTo>
                    <a:pt x="772464" y="578273"/>
                    <a:pt x="771750" y="577560"/>
                    <a:pt x="770320" y="576133"/>
                  </a:cubicBezTo>
                  <a:cubicBezTo>
                    <a:pt x="765316" y="570426"/>
                    <a:pt x="758883" y="559013"/>
                    <a:pt x="754594" y="544033"/>
                  </a:cubicBezTo>
                  <a:cubicBezTo>
                    <a:pt x="753165" y="540466"/>
                    <a:pt x="751735" y="534760"/>
                    <a:pt x="750305" y="527626"/>
                  </a:cubicBezTo>
                  <a:cubicBezTo>
                    <a:pt x="748161" y="519779"/>
                    <a:pt x="746731" y="510506"/>
                    <a:pt x="743872" y="503373"/>
                  </a:cubicBezTo>
                  <a:cubicBezTo>
                    <a:pt x="741728" y="495526"/>
                    <a:pt x="739583" y="471272"/>
                    <a:pt x="738869" y="458432"/>
                  </a:cubicBezTo>
                  <a:cubicBezTo>
                    <a:pt x="740298" y="458432"/>
                    <a:pt x="742443" y="459859"/>
                    <a:pt x="743157" y="459859"/>
                  </a:cubicBezTo>
                  <a:cubicBezTo>
                    <a:pt x="743872" y="459859"/>
                    <a:pt x="743872" y="459146"/>
                    <a:pt x="744587" y="458432"/>
                  </a:cubicBezTo>
                  <a:cubicBezTo>
                    <a:pt x="749591" y="437032"/>
                    <a:pt x="781042" y="402792"/>
                    <a:pt x="771035" y="402792"/>
                  </a:cubicBezTo>
                  <a:cubicBezTo>
                    <a:pt x="673821" y="404219"/>
                    <a:pt x="704558" y="377825"/>
                    <a:pt x="599481" y="377825"/>
                  </a:cubicBezTo>
                  <a:close/>
                  <a:moveTo>
                    <a:pt x="69850" y="290513"/>
                  </a:moveTo>
                  <a:lnTo>
                    <a:pt x="84138" y="290513"/>
                  </a:lnTo>
                  <a:lnTo>
                    <a:pt x="100013" y="290513"/>
                  </a:lnTo>
                  <a:lnTo>
                    <a:pt x="101600" y="290513"/>
                  </a:lnTo>
                  <a:lnTo>
                    <a:pt x="101600" y="379413"/>
                  </a:lnTo>
                  <a:lnTo>
                    <a:pt x="100013" y="379413"/>
                  </a:lnTo>
                  <a:lnTo>
                    <a:pt x="84138" y="379413"/>
                  </a:lnTo>
                  <a:lnTo>
                    <a:pt x="69850" y="379413"/>
                  </a:lnTo>
                  <a:close/>
                  <a:moveTo>
                    <a:pt x="7161" y="150813"/>
                  </a:moveTo>
                  <a:cubicBezTo>
                    <a:pt x="31507" y="150813"/>
                    <a:pt x="51557" y="150813"/>
                    <a:pt x="69458" y="150813"/>
                  </a:cubicBezTo>
                  <a:cubicBezTo>
                    <a:pt x="74471" y="150813"/>
                    <a:pt x="79483" y="150813"/>
                    <a:pt x="84496" y="150813"/>
                  </a:cubicBezTo>
                  <a:cubicBezTo>
                    <a:pt x="90224" y="150813"/>
                    <a:pt x="95237" y="150813"/>
                    <a:pt x="100249" y="150813"/>
                  </a:cubicBezTo>
                  <a:cubicBezTo>
                    <a:pt x="100249" y="150813"/>
                    <a:pt x="100249" y="150813"/>
                    <a:pt x="100965" y="150813"/>
                  </a:cubicBezTo>
                  <a:cubicBezTo>
                    <a:pt x="105978" y="150813"/>
                    <a:pt x="110990" y="150813"/>
                    <a:pt x="116003" y="150813"/>
                  </a:cubicBezTo>
                  <a:cubicBezTo>
                    <a:pt x="122447" y="150813"/>
                    <a:pt x="127460" y="150813"/>
                    <a:pt x="132472" y="150813"/>
                  </a:cubicBezTo>
                  <a:cubicBezTo>
                    <a:pt x="156102" y="150813"/>
                    <a:pt x="161115" y="150813"/>
                    <a:pt x="161115" y="150813"/>
                  </a:cubicBezTo>
                  <a:cubicBezTo>
                    <a:pt x="165411" y="150813"/>
                    <a:pt x="168275" y="153635"/>
                    <a:pt x="168275" y="157868"/>
                  </a:cubicBezTo>
                  <a:cubicBezTo>
                    <a:pt x="168275" y="251707"/>
                    <a:pt x="168275" y="251707"/>
                    <a:pt x="168275" y="251707"/>
                  </a:cubicBezTo>
                  <a:cubicBezTo>
                    <a:pt x="168275" y="255941"/>
                    <a:pt x="165411" y="258763"/>
                    <a:pt x="161115" y="258763"/>
                  </a:cubicBezTo>
                  <a:cubicBezTo>
                    <a:pt x="151090" y="258763"/>
                    <a:pt x="141065" y="258763"/>
                    <a:pt x="132472" y="258763"/>
                  </a:cubicBezTo>
                  <a:cubicBezTo>
                    <a:pt x="126744" y="258763"/>
                    <a:pt x="121015" y="258763"/>
                    <a:pt x="116003" y="258763"/>
                  </a:cubicBezTo>
                  <a:cubicBezTo>
                    <a:pt x="110274" y="258763"/>
                    <a:pt x="105262" y="258763"/>
                    <a:pt x="100965" y="258763"/>
                  </a:cubicBezTo>
                  <a:cubicBezTo>
                    <a:pt x="100249" y="258763"/>
                    <a:pt x="100249" y="258763"/>
                    <a:pt x="100249" y="258763"/>
                  </a:cubicBezTo>
                  <a:cubicBezTo>
                    <a:pt x="94521" y="258763"/>
                    <a:pt x="89508" y="258763"/>
                    <a:pt x="84496" y="258763"/>
                  </a:cubicBezTo>
                  <a:cubicBezTo>
                    <a:pt x="78767" y="258763"/>
                    <a:pt x="73755" y="258763"/>
                    <a:pt x="69458" y="258763"/>
                  </a:cubicBezTo>
                  <a:cubicBezTo>
                    <a:pt x="17186" y="258763"/>
                    <a:pt x="7161" y="258763"/>
                    <a:pt x="7161" y="258763"/>
                  </a:cubicBezTo>
                  <a:cubicBezTo>
                    <a:pt x="2865" y="258763"/>
                    <a:pt x="0" y="255941"/>
                    <a:pt x="0" y="251707"/>
                  </a:cubicBezTo>
                  <a:cubicBezTo>
                    <a:pt x="0" y="157868"/>
                    <a:pt x="0" y="157868"/>
                    <a:pt x="0" y="157868"/>
                  </a:cubicBezTo>
                  <a:cubicBezTo>
                    <a:pt x="0" y="153635"/>
                    <a:pt x="2865" y="150813"/>
                    <a:pt x="7161" y="150813"/>
                  </a:cubicBezTo>
                  <a:close/>
                  <a:moveTo>
                    <a:pt x="328613" y="63500"/>
                  </a:moveTo>
                  <a:lnTo>
                    <a:pt x="906463" y="63500"/>
                  </a:lnTo>
                  <a:lnTo>
                    <a:pt x="906463" y="1128713"/>
                  </a:lnTo>
                  <a:lnTo>
                    <a:pt x="328613" y="1128713"/>
                  </a:lnTo>
                  <a:close/>
                  <a:moveTo>
                    <a:pt x="133350" y="63500"/>
                  </a:moveTo>
                  <a:cubicBezTo>
                    <a:pt x="133350" y="63500"/>
                    <a:pt x="133350" y="63500"/>
                    <a:pt x="296863" y="63500"/>
                  </a:cubicBezTo>
                  <a:cubicBezTo>
                    <a:pt x="296863" y="63500"/>
                    <a:pt x="296863" y="63500"/>
                    <a:pt x="296863" y="1128713"/>
                  </a:cubicBezTo>
                  <a:cubicBezTo>
                    <a:pt x="296863" y="1128713"/>
                    <a:pt x="296863" y="1128713"/>
                    <a:pt x="133350" y="1128713"/>
                  </a:cubicBezTo>
                  <a:cubicBezTo>
                    <a:pt x="133350" y="1128713"/>
                    <a:pt x="133350" y="1128713"/>
                    <a:pt x="133350" y="1071674"/>
                  </a:cubicBezTo>
                  <a:cubicBezTo>
                    <a:pt x="133350" y="1071674"/>
                    <a:pt x="133350" y="1071674"/>
                    <a:pt x="161664" y="1071674"/>
                  </a:cubicBezTo>
                  <a:cubicBezTo>
                    <a:pt x="183607" y="1071674"/>
                    <a:pt x="199888" y="1054562"/>
                    <a:pt x="199888" y="1033172"/>
                  </a:cubicBezTo>
                  <a:cubicBezTo>
                    <a:pt x="199888" y="1033172"/>
                    <a:pt x="199888" y="1033172"/>
                    <a:pt x="199888" y="938344"/>
                  </a:cubicBezTo>
                  <a:cubicBezTo>
                    <a:pt x="199888" y="916954"/>
                    <a:pt x="183607" y="899842"/>
                    <a:pt x="161664" y="899842"/>
                  </a:cubicBezTo>
                  <a:cubicBezTo>
                    <a:pt x="161664" y="899842"/>
                    <a:pt x="161664" y="899842"/>
                    <a:pt x="133350" y="899842"/>
                  </a:cubicBezTo>
                  <a:cubicBezTo>
                    <a:pt x="133350" y="899842"/>
                    <a:pt x="133350" y="899842"/>
                    <a:pt x="133350" y="811431"/>
                  </a:cubicBezTo>
                  <a:cubicBezTo>
                    <a:pt x="133350" y="811431"/>
                    <a:pt x="133350" y="811431"/>
                    <a:pt x="161664" y="811431"/>
                  </a:cubicBezTo>
                  <a:cubicBezTo>
                    <a:pt x="182900" y="811431"/>
                    <a:pt x="199888" y="794319"/>
                    <a:pt x="199888" y="772929"/>
                  </a:cubicBezTo>
                  <a:cubicBezTo>
                    <a:pt x="199888" y="772929"/>
                    <a:pt x="199888" y="772929"/>
                    <a:pt x="199888" y="678101"/>
                  </a:cubicBezTo>
                  <a:cubicBezTo>
                    <a:pt x="199888" y="656711"/>
                    <a:pt x="182900" y="639599"/>
                    <a:pt x="161664" y="639599"/>
                  </a:cubicBezTo>
                  <a:cubicBezTo>
                    <a:pt x="161664" y="639599"/>
                    <a:pt x="161664" y="639599"/>
                    <a:pt x="133350" y="639599"/>
                  </a:cubicBezTo>
                  <a:cubicBezTo>
                    <a:pt x="133350" y="639599"/>
                    <a:pt x="133350" y="639599"/>
                    <a:pt x="133350" y="551188"/>
                  </a:cubicBezTo>
                  <a:cubicBezTo>
                    <a:pt x="133350" y="551188"/>
                    <a:pt x="133350" y="551188"/>
                    <a:pt x="161664" y="551188"/>
                  </a:cubicBezTo>
                  <a:cubicBezTo>
                    <a:pt x="182900" y="551188"/>
                    <a:pt x="199888" y="534076"/>
                    <a:pt x="199888" y="512686"/>
                  </a:cubicBezTo>
                  <a:cubicBezTo>
                    <a:pt x="199888" y="512686"/>
                    <a:pt x="199888" y="512686"/>
                    <a:pt x="199888" y="417858"/>
                  </a:cubicBezTo>
                  <a:cubicBezTo>
                    <a:pt x="199888" y="396468"/>
                    <a:pt x="182900" y="379356"/>
                    <a:pt x="161664" y="379356"/>
                  </a:cubicBezTo>
                  <a:cubicBezTo>
                    <a:pt x="161664" y="379356"/>
                    <a:pt x="161664" y="379356"/>
                    <a:pt x="133350" y="379356"/>
                  </a:cubicBezTo>
                  <a:cubicBezTo>
                    <a:pt x="133350" y="379356"/>
                    <a:pt x="133350" y="379356"/>
                    <a:pt x="133350" y="290945"/>
                  </a:cubicBezTo>
                  <a:cubicBezTo>
                    <a:pt x="133350" y="290945"/>
                    <a:pt x="133350" y="290945"/>
                    <a:pt x="161664" y="290945"/>
                  </a:cubicBezTo>
                  <a:cubicBezTo>
                    <a:pt x="183607" y="290945"/>
                    <a:pt x="199888" y="273833"/>
                    <a:pt x="199888" y="252443"/>
                  </a:cubicBezTo>
                  <a:cubicBezTo>
                    <a:pt x="199888" y="252443"/>
                    <a:pt x="199888" y="252443"/>
                    <a:pt x="199888" y="157615"/>
                  </a:cubicBezTo>
                  <a:cubicBezTo>
                    <a:pt x="199888" y="136225"/>
                    <a:pt x="183607" y="119113"/>
                    <a:pt x="161664" y="119113"/>
                  </a:cubicBezTo>
                  <a:cubicBezTo>
                    <a:pt x="161664" y="119113"/>
                    <a:pt x="161664" y="119113"/>
                    <a:pt x="133350" y="119113"/>
                  </a:cubicBezTo>
                  <a:cubicBezTo>
                    <a:pt x="133350" y="119113"/>
                    <a:pt x="133350" y="119113"/>
                    <a:pt x="133350" y="63500"/>
                  </a:cubicBezTo>
                  <a:close/>
                  <a:moveTo>
                    <a:pt x="85564" y="0"/>
                  </a:moveTo>
                  <a:cubicBezTo>
                    <a:pt x="85564" y="0"/>
                    <a:pt x="85564" y="0"/>
                    <a:pt x="952662" y="0"/>
                  </a:cubicBezTo>
                  <a:cubicBezTo>
                    <a:pt x="961947" y="0"/>
                    <a:pt x="968375" y="7139"/>
                    <a:pt x="968375" y="15706"/>
                  </a:cubicBezTo>
                  <a:cubicBezTo>
                    <a:pt x="968375" y="15706"/>
                    <a:pt x="968375" y="15706"/>
                    <a:pt x="968375" y="1176507"/>
                  </a:cubicBezTo>
                  <a:cubicBezTo>
                    <a:pt x="968375" y="1185788"/>
                    <a:pt x="961947" y="1192213"/>
                    <a:pt x="952662" y="1192213"/>
                  </a:cubicBezTo>
                  <a:cubicBezTo>
                    <a:pt x="952662" y="1192213"/>
                    <a:pt x="952662" y="1192213"/>
                    <a:pt x="85564" y="1192213"/>
                  </a:cubicBezTo>
                  <a:cubicBezTo>
                    <a:pt x="76278" y="1192213"/>
                    <a:pt x="69850" y="1185788"/>
                    <a:pt x="69850" y="1176507"/>
                  </a:cubicBezTo>
                  <a:cubicBezTo>
                    <a:pt x="69850" y="1176507"/>
                    <a:pt x="69850" y="1176507"/>
                    <a:pt x="69850" y="1072278"/>
                  </a:cubicBezTo>
                  <a:cubicBezTo>
                    <a:pt x="69850" y="1072278"/>
                    <a:pt x="69850" y="1072278"/>
                    <a:pt x="84849" y="1072278"/>
                  </a:cubicBezTo>
                  <a:cubicBezTo>
                    <a:pt x="84849" y="1072278"/>
                    <a:pt x="84849" y="1072278"/>
                    <a:pt x="100563" y="1072278"/>
                  </a:cubicBezTo>
                  <a:cubicBezTo>
                    <a:pt x="100563" y="1072278"/>
                    <a:pt x="100563" y="1072278"/>
                    <a:pt x="101277" y="1072278"/>
                  </a:cubicBezTo>
                  <a:cubicBezTo>
                    <a:pt x="101277" y="1072278"/>
                    <a:pt x="101277" y="1072278"/>
                    <a:pt x="101277" y="1145096"/>
                  </a:cubicBezTo>
                  <a:cubicBezTo>
                    <a:pt x="101277" y="1145096"/>
                    <a:pt x="101277" y="1145096"/>
                    <a:pt x="101277" y="1160802"/>
                  </a:cubicBezTo>
                  <a:cubicBezTo>
                    <a:pt x="101277" y="1160802"/>
                    <a:pt x="101277" y="1160802"/>
                    <a:pt x="116991" y="1160802"/>
                  </a:cubicBezTo>
                  <a:cubicBezTo>
                    <a:pt x="116991" y="1160802"/>
                    <a:pt x="116991" y="1160802"/>
                    <a:pt x="313409" y="1160802"/>
                  </a:cubicBezTo>
                  <a:cubicBezTo>
                    <a:pt x="313409" y="1160802"/>
                    <a:pt x="313409" y="1160802"/>
                    <a:pt x="329123" y="1160802"/>
                  </a:cubicBezTo>
                  <a:cubicBezTo>
                    <a:pt x="329123" y="1160802"/>
                    <a:pt x="329123" y="1160802"/>
                    <a:pt x="921235" y="1160802"/>
                  </a:cubicBezTo>
                  <a:cubicBezTo>
                    <a:pt x="921235" y="1160802"/>
                    <a:pt x="921235" y="1160802"/>
                    <a:pt x="936948" y="1160802"/>
                  </a:cubicBezTo>
                  <a:cubicBezTo>
                    <a:pt x="936948" y="1160802"/>
                    <a:pt x="936948" y="1160802"/>
                    <a:pt x="936948" y="1145096"/>
                  </a:cubicBezTo>
                  <a:cubicBezTo>
                    <a:pt x="936948" y="1145096"/>
                    <a:pt x="936948" y="1145096"/>
                    <a:pt x="936948" y="47117"/>
                  </a:cubicBezTo>
                  <a:cubicBezTo>
                    <a:pt x="936948" y="47117"/>
                    <a:pt x="936948" y="47117"/>
                    <a:pt x="936948" y="31411"/>
                  </a:cubicBezTo>
                  <a:cubicBezTo>
                    <a:pt x="936948" y="31411"/>
                    <a:pt x="936948" y="31411"/>
                    <a:pt x="329123" y="31411"/>
                  </a:cubicBezTo>
                  <a:cubicBezTo>
                    <a:pt x="329123" y="31411"/>
                    <a:pt x="329123" y="31411"/>
                    <a:pt x="313409" y="31411"/>
                  </a:cubicBezTo>
                  <a:cubicBezTo>
                    <a:pt x="313409" y="31411"/>
                    <a:pt x="313409" y="31411"/>
                    <a:pt x="101277" y="31411"/>
                  </a:cubicBezTo>
                  <a:cubicBezTo>
                    <a:pt x="101277" y="31411"/>
                    <a:pt x="101277" y="31411"/>
                    <a:pt x="101277" y="47117"/>
                  </a:cubicBezTo>
                  <a:cubicBezTo>
                    <a:pt x="101277" y="47117"/>
                    <a:pt x="101277" y="47117"/>
                    <a:pt x="101277" y="118507"/>
                  </a:cubicBezTo>
                  <a:cubicBezTo>
                    <a:pt x="101277" y="118507"/>
                    <a:pt x="101277" y="118507"/>
                    <a:pt x="100563" y="118507"/>
                  </a:cubicBezTo>
                  <a:cubicBezTo>
                    <a:pt x="100563" y="118507"/>
                    <a:pt x="100563" y="118507"/>
                    <a:pt x="84849" y="118507"/>
                  </a:cubicBezTo>
                  <a:cubicBezTo>
                    <a:pt x="84849" y="118507"/>
                    <a:pt x="84849" y="118507"/>
                    <a:pt x="69850" y="118507"/>
                  </a:cubicBezTo>
                  <a:cubicBezTo>
                    <a:pt x="69850" y="118507"/>
                    <a:pt x="69850" y="118507"/>
                    <a:pt x="69850" y="15706"/>
                  </a:cubicBezTo>
                  <a:cubicBezTo>
                    <a:pt x="69850" y="7139"/>
                    <a:pt x="76278" y="0"/>
                    <a:pt x="85564"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22" name="Picture 21">
            <a:extLst>
              <a:ext uri="{FF2B5EF4-FFF2-40B4-BE49-F238E27FC236}">
                <a16:creationId xmlns:a16="http://schemas.microsoft.com/office/drawing/2014/main" id="{84DE362C-6BB3-56D4-2DCF-89B40A7143D3}"/>
              </a:ext>
            </a:extLst>
          </p:cNvPr>
          <p:cNvPicPr>
            <a:picLocks noChangeAspect="1"/>
          </p:cNvPicPr>
          <p:nvPr/>
        </p:nvPicPr>
        <p:blipFill>
          <a:blip r:embed="rId6"/>
          <a:stretch>
            <a:fillRect/>
          </a:stretch>
        </p:blipFill>
        <p:spPr>
          <a:xfrm>
            <a:off x="654899" y="1480806"/>
            <a:ext cx="2057687" cy="552527"/>
          </a:xfrm>
          <a:prstGeom prst="rect">
            <a:avLst/>
          </a:prstGeom>
        </p:spPr>
      </p:pic>
      <p:sp>
        <p:nvSpPr>
          <p:cNvPr id="25" name="Rectangle 24">
            <a:extLst>
              <a:ext uri="{FF2B5EF4-FFF2-40B4-BE49-F238E27FC236}">
                <a16:creationId xmlns:a16="http://schemas.microsoft.com/office/drawing/2014/main" id="{7A2A4DB8-AB60-2C6F-86F0-4C41ED307A27}"/>
              </a:ext>
            </a:extLst>
          </p:cNvPr>
          <p:cNvSpPr/>
          <p:nvPr/>
        </p:nvSpPr>
        <p:spPr>
          <a:xfrm>
            <a:off x="1052052" y="2172929"/>
            <a:ext cx="4129548" cy="26697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30" name="Group 29">
            <a:extLst>
              <a:ext uri="{FF2B5EF4-FFF2-40B4-BE49-F238E27FC236}">
                <a16:creationId xmlns:a16="http://schemas.microsoft.com/office/drawing/2014/main" id="{59685EFC-CE12-92AD-3B07-3D6514BE82E4}"/>
              </a:ext>
            </a:extLst>
          </p:cNvPr>
          <p:cNvGrpSpPr/>
          <p:nvPr/>
        </p:nvGrpSpPr>
        <p:grpSpPr>
          <a:xfrm>
            <a:off x="2323970" y="4562167"/>
            <a:ext cx="1585713" cy="112916"/>
            <a:chOff x="1995948" y="4562167"/>
            <a:chExt cx="1585713" cy="112916"/>
          </a:xfrm>
        </p:grpSpPr>
        <p:sp>
          <p:nvSpPr>
            <p:cNvPr id="26" name="Oval 25">
              <a:extLst>
                <a:ext uri="{FF2B5EF4-FFF2-40B4-BE49-F238E27FC236}">
                  <a16:creationId xmlns:a16="http://schemas.microsoft.com/office/drawing/2014/main" id="{9B25BE1D-82CE-455F-6CE8-B025CA2BA222}"/>
                </a:ext>
              </a:extLst>
            </p:cNvPr>
            <p:cNvSpPr/>
            <p:nvPr/>
          </p:nvSpPr>
          <p:spPr>
            <a:xfrm>
              <a:off x="1995948" y="4562167"/>
              <a:ext cx="108000" cy="108000"/>
            </a:xfrm>
            <a:prstGeom prst="ellipse">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Oval 26">
              <a:extLst>
                <a:ext uri="{FF2B5EF4-FFF2-40B4-BE49-F238E27FC236}">
                  <a16:creationId xmlns:a16="http://schemas.microsoft.com/office/drawing/2014/main" id="{EB9191B0-AB7E-F309-0E12-712635ADB03E}"/>
                </a:ext>
              </a:extLst>
            </p:cNvPr>
            <p:cNvSpPr/>
            <p:nvPr/>
          </p:nvSpPr>
          <p:spPr>
            <a:xfrm>
              <a:off x="2488519" y="4567083"/>
              <a:ext cx="108000" cy="108000"/>
            </a:xfrm>
            <a:prstGeom prst="ellipse">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8" name="Oval 27">
              <a:extLst>
                <a:ext uri="{FF2B5EF4-FFF2-40B4-BE49-F238E27FC236}">
                  <a16:creationId xmlns:a16="http://schemas.microsoft.com/office/drawing/2014/main" id="{A599954B-09F5-AFB5-669A-F7FA7DBDBBBB}"/>
                </a:ext>
              </a:extLst>
            </p:cNvPr>
            <p:cNvSpPr/>
            <p:nvPr/>
          </p:nvSpPr>
          <p:spPr>
            <a:xfrm>
              <a:off x="2981090" y="4562167"/>
              <a:ext cx="108000" cy="108000"/>
            </a:xfrm>
            <a:prstGeom prst="ellipse">
              <a:avLst/>
            </a:prstGeom>
            <a:solidFill>
              <a:srgbClr val="D4DF33"/>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9" name="Oval 28">
              <a:extLst>
                <a:ext uri="{FF2B5EF4-FFF2-40B4-BE49-F238E27FC236}">
                  <a16:creationId xmlns:a16="http://schemas.microsoft.com/office/drawing/2014/main" id="{82CCB617-2A54-82A0-BA2C-8AC504114537}"/>
                </a:ext>
              </a:extLst>
            </p:cNvPr>
            <p:cNvSpPr/>
            <p:nvPr/>
          </p:nvSpPr>
          <p:spPr>
            <a:xfrm>
              <a:off x="3473661" y="4567083"/>
              <a:ext cx="108000" cy="108000"/>
            </a:xfrm>
            <a:prstGeom prst="ellipse">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nvGrpSpPr>
          <p:cNvPr id="31" name="Group 30">
            <a:extLst>
              <a:ext uri="{FF2B5EF4-FFF2-40B4-BE49-F238E27FC236}">
                <a16:creationId xmlns:a16="http://schemas.microsoft.com/office/drawing/2014/main" id="{C43EABE2-E8D1-98BA-4F47-750310754B23}"/>
              </a:ext>
            </a:extLst>
          </p:cNvPr>
          <p:cNvGrpSpPr>
            <a:grpSpLocks noChangeAspect="1"/>
          </p:cNvGrpSpPr>
          <p:nvPr/>
        </p:nvGrpSpPr>
        <p:grpSpPr>
          <a:xfrm>
            <a:off x="4845230" y="3354338"/>
            <a:ext cx="306910" cy="306910"/>
            <a:chOff x="982662" y="1847850"/>
            <a:chExt cx="269875" cy="269875"/>
          </a:xfrm>
        </p:grpSpPr>
        <p:sp>
          <p:nvSpPr>
            <p:cNvPr id="32" name="Oval 50">
              <a:extLst>
                <a:ext uri="{FF2B5EF4-FFF2-40B4-BE49-F238E27FC236}">
                  <a16:creationId xmlns:a16="http://schemas.microsoft.com/office/drawing/2014/main" id="{6AB0F3B3-E1D3-0AA5-2E94-D54664986B73}"/>
                </a:ext>
              </a:extLst>
            </p:cNvPr>
            <p:cNvSpPr>
              <a:spLocks noChangeArrowheads="1"/>
            </p:cNvSpPr>
            <p:nvPr/>
          </p:nvSpPr>
          <p:spPr bwMode="auto">
            <a:xfrm>
              <a:off x="982662" y="1847850"/>
              <a:ext cx="269875" cy="269875"/>
            </a:xfrm>
            <a:prstGeom prst="ellipse">
              <a:avLst/>
            </a:pr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3" name="Freeform 51">
              <a:extLst>
                <a:ext uri="{FF2B5EF4-FFF2-40B4-BE49-F238E27FC236}">
                  <a16:creationId xmlns:a16="http://schemas.microsoft.com/office/drawing/2014/main" id="{C779376F-75A8-C075-B900-80FCB8E4AAEA}"/>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29BA74"/>
            </a:solidFill>
            <a:ln w="9525" cap="flat" cmpd="sng" algn="ctr">
              <a:solidFill>
                <a:srgbClr val="29BA74"/>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4" name="Group 33">
            <a:extLst>
              <a:ext uri="{FF2B5EF4-FFF2-40B4-BE49-F238E27FC236}">
                <a16:creationId xmlns:a16="http://schemas.microsoft.com/office/drawing/2014/main" id="{45D96C46-6939-9444-A87F-582AD65CF160}"/>
              </a:ext>
            </a:extLst>
          </p:cNvPr>
          <p:cNvGrpSpPr>
            <a:grpSpLocks noChangeAspect="1"/>
          </p:cNvGrpSpPr>
          <p:nvPr/>
        </p:nvGrpSpPr>
        <p:grpSpPr>
          <a:xfrm flipH="1">
            <a:off x="1077992" y="3354338"/>
            <a:ext cx="306910" cy="306910"/>
            <a:chOff x="982662" y="1847850"/>
            <a:chExt cx="269875" cy="269875"/>
          </a:xfrm>
        </p:grpSpPr>
        <p:sp>
          <p:nvSpPr>
            <p:cNvPr id="35" name="Oval 50">
              <a:extLst>
                <a:ext uri="{FF2B5EF4-FFF2-40B4-BE49-F238E27FC236}">
                  <a16:creationId xmlns:a16="http://schemas.microsoft.com/office/drawing/2014/main" id="{851BA364-82E1-74D2-93FB-6753DB59FCC6}"/>
                </a:ext>
              </a:extLst>
            </p:cNvPr>
            <p:cNvSpPr>
              <a:spLocks noChangeArrowheads="1"/>
            </p:cNvSpPr>
            <p:nvPr/>
          </p:nvSpPr>
          <p:spPr bwMode="auto">
            <a:xfrm>
              <a:off x="982662" y="1847850"/>
              <a:ext cx="269875" cy="269875"/>
            </a:xfrm>
            <a:prstGeom prst="ellipse">
              <a:avLst/>
            </a:pr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6" name="Freeform 51">
              <a:extLst>
                <a:ext uri="{FF2B5EF4-FFF2-40B4-BE49-F238E27FC236}">
                  <a16:creationId xmlns:a16="http://schemas.microsoft.com/office/drawing/2014/main" id="{966858B0-68D2-7B46-80AA-BE989DF6E6AF}"/>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29BA74"/>
            </a:solidFill>
            <a:ln w="9525" cap="flat" cmpd="sng" algn="ctr">
              <a:solidFill>
                <a:srgbClr val="29BA74"/>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39" name="Speech Bubble: Rectangle with Corners Rounded 38">
            <a:extLst>
              <a:ext uri="{FF2B5EF4-FFF2-40B4-BE49-F238E27FC236}">
                <a16:creationId xmlns:a16="http://schemas.microsoft.com/office/drawing/2014/main" id="{A6A2FB6A-1D6D-D403-67EF-135FC691AABA}"/>
              </a:ext>
            </a:extLst>
          </p:cNvPr>
          <p:cNvSpPr/>
          <p:nvPr/>
        </p:nvSpPr>
        <p:spPr>
          <a:xfrm>
            <a:off x="5525728" y="2250530"/>
            <a:ext cx="2930013" cy="1269910"/>
          </a:xfrm>
          <a:prstGeom prst="wedgeRoundRectCallout">
            <a:avLst>
              <a:gd name="adj1" fmla="val -118851"/>
              <a:gd name="adj2" fmla="val -7182"/>
              <a:gd name="adj3" fmla="val 16667"/>
            </a:avLst>
          </a:prstGeom>
          <a:solidFill>
            <a:schemeClr val="accent3">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rgbClr val="575757"/>
                </a:solidFill>
              </a:rPr>
              <a:t>滚动页面（展示活动、校友会介绍等）</a:t>
            </a:r>
            <a:endParaRPr lang="en-US" altLang="zh-CN" sz="1200" dirty="0">
              <a:solidFill>
                <a:srgbClr val="575757"/>
              </a:solidFill>
            </a:endParaRPr>
          </a:p>
          <a:p>
            <a:pPr algn="ctr"/>
            <a:endParaRPr lang="zh-CN" altLang="en-US" sz="1200" dirty="0">
              <a:solidFill>
                <a:srgbClr val="575757"/>
              </a:solidFill>
            </a:endParaRPr>
          </a:p>
          <a:p>
            <a:pPr algn="ctr"/>
            <a:r>
              <a:rPr lang="zh-CN" altLang="en-US" sz="1200" dirty="0">
                <a:solidFill>
                  <a:srgbClr val="575757"/>
                </a:solidFill>
              </a:rPr>
              <a:t>第一步先不放超链接，做成仅照片</a:t>
            </a:r>
            <a:r>
              <a:rPr lang="en-US" altLang="zh-CN" sz="1200" dirty="0">
                <a:solidFill>
                  <a:srgbClr val="575757"/>
                </a:solidFill>
              </a:rPr>
              <a:t>/poster</a:t>
            </a:r>
            <a:r>
              <a:rPr lang="zh-CN" altLang="en-US" sz="1200" dirty="0">
                <a:solidFill>
                  <a:srgbClr val="575757"/>
                </a:solidFill>
              </a:rPr>
              <a:t>滚动即可，后续我们再完善</a:t>
            </a:r>
          </a:p>
        </p:txBody>
      </p:sp>
    </p:spTree>
    <p:extLst>
      <p:ext uri="{BB962C8B-B14F-4D97-AF65-F5344CB8AC3E}">
        <p14:creationId xmlns:p14="http://schemas.microsoft.com/office/powerpoint/2010/main" val="39363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B955D05-E37D-74BD-E1ED-4E9B7C0BF6A0}"/>
              </a:ext>
            </a:extLst>
          </p:cNvPr>
          <p:cNvGraphicFramePr>
            <a:graphicFrameLocks noChangeAspect="1"/>
          </p:cNvGraphicFramePr>
          <p:nvPr>
            <p:custDataLst>
              <p:tags r:id="rId1"/>
            </p:custDataLst>
            <p:extLst>
              <p:ext uri="{D42A27DB-BD31-4B8C-83A1-F6EECF244321}">
                <p14:modId xmlns:p14="http://schemas.microsoft.com/office/powerpoint/2010/main" val="3263787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02617DF-B47F-FBC4-378B-5F57EACA2308}"/>
              </a:ext>
            </a:extLst>
          </p:cNvPr>
          <p:cNvSpPr>
            <a:spLocks noGrp="1"/>
          </p:cNvSpPr>
          <p:nvPr>
            <p:ph type="title"/>
          </p:nvPr>
        </p:nvSpPr>
        <p:spPr/>
        <p:txBody>
          <a:bodyPr vert="horz"/>
          <a:lstStyle/>
          <a:p>
            <a:r>
              <a:rPr lang="zh-CN" altLang="en-US" dirty="0"/>
              <a:t>组织界面</a:t>
            </a:r>
            <a:endParaRPr lang="en-US" dirty="0"/>
          </a:p>
        </p:txBody>
      </p:sp>
      <p:sp>
        <p:nvSpPr>
          <p:cNvPr id="4" name="Rectangle 3">
            <a:extLst>
              <a:ext uri="{FF2B5EF4-FFF2-40B4-BE49-F238E27FC236}">
                <a16:creationId xmlns:a16="http://schemas.microsoft.com/office/drawing/2014/main" id="{C835C21A-D235-DBB8-A461-21FDB5A65A5C}"/>
              </a:ext>
            </a:extLst>
          </p:cNvPr>
          <p:cNvSpPr/>
          <p:nvPr/>
        </p:nvSpPr>
        <p:spPr>
          <a:xfrm>
            <a:off x="630000" y="1406013"/>
            <a:ext cx="5013716" cy="540774"/>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rgbClr val="FFFFFF"/>
                </a:solidFill>
              </a:rPr>
              <a:t>个人中心</a:t>
            </a:r>
            <a:endParaRPr lang="en-US" sz="1200" dirty="0">
              <a:solidFill>
                <a:srgbClr val="FFFFFF"/>
              </a:solidFill>
            </a:endParaRPr>
          </a:p>
        </p:txBody>
      </p:sp>
      <p:sp>
        <p:nvSpPr>
          <p:cNvPr id="5" name="Rectangle 4">
            <a:extLst>
              <a:ext uri="{FF2B5EF4-FFF2-40B4-BE49-F238E27FC236}">
                <a16:creationId xmlns:a16="http://schemas.microsoft.com/office/drawing/2014/main" id="{28EB7A88-0792-F729-7D38-D57083B1E12D}"/>
              </a:ext>
            </a:extLst>
          </p:cNvPr>
          <p:cNvSpPr/>
          <p:nvPr/>
        </p:nvSpPr>
        <p:spPr>
          <a:xfrm>
            <a:off x="630000" y="1406013"/>
            <a:ext cx="5013716" cy="4493345"/>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a:extLst>
              <a:ext uri="{FF2B5EF4-FFF2-40B4-BE49-F238E27FC236}">
                <a16:creationId xmlns:a16="http://schemas.microsoft.com/office/drawing/2014/main" id="{9347F715-AB41-3A65-E43E-5F2930F4F5D5}"/>
              </a:ext>
            </a:extLst>
          </p:cNvPr>
          <p:cNvSpPr/>
          <p:nvPr/>
        </p:nvSpPr>
        <p:spPr>
          <a:xfrm>
            <a:off x="630000" y="5909190"/>
            <a:ext cx="5013716" cy="796413"/>
          </a:xfrm>
          <a:prstGeom prst="rect">
            <a:avLst/>
          </a:prstGeom>
          <a:solidFill>
            <a:srgbClr val="F2F2F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 name="bcgBugsWhite_House">
            <a:extLst>
              <a:ext uri="{FF2B5EF4-FFF2-40B4-BE49-F238E27FC236}">
                <a16:creationId xmlns:a16="http://schemas.microsoft.com/office/drawing/2014/main" id="{DC47A9C8-FAEC-7234-6F83-82A1CF40C006}"/>
              </a:ext>
            </a:extLst>
          </p:cNvPr>
          <p:cNvGrpSpPr>
            <a:grpSpLocks noChangeAspect="1"/>
          </p:cNvGrpSpPr>
          <p:nvPr/>
        </p:nvGrpSpPr>
        <p:grpSpPr bwMode="auto">
          <a:xfrm>
            <a:off x="1258530" y="6026759"/>
            <a:ext cx="407639" cy="408038"/>
            <a:chOff x="2818" y="1137"/>
            <a:chExt cx="2044" cy="2046"/>
          </a:xfrm>
        </p:grpSpPr>
        <p:sp>
          <p:nvSpPr>
            <p:cNvPr id="8" name="AutoShape 3">
              <a:extLst>
                <a:ext uri="{FF2B5EF4-FFF2-40B4-BE49-F238E27FC236}">
                  <a16:creationId xmlns:a16="http://schemas.microsoft.com/office/drawing/2014/main" id="{298487B5-D57E-44A6-A9D5-E0B050EB2CA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9">
              <a:extLst>
                <a:ext uri="{FF2B5EF4-FFF2-40B4-BE49-F238E27FC236}">
                  <a16:creationId xmlns:a16="http://schemas.microsoft.com/office/drawing/2014/main" id="{82561A0A-E469-161B-2417-CFCAD3626285}"/>
                </a:ext>
              </a:extLst>
            </p:cNvPr>
            <p:cNvSpPr>
              <a:spLocks noEditPoints="1"/>
            </p:cNvSpPr>
            <p:nvPr/>
          </p:nvSpPr>
          <p:spPr bwMode="auto">
            <a:xfrm>
              <a:off x="2978" y="1258"/>
              <a:ext cx="1726" cy="1804"/>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TextBox 9">
            <a:extLst>
              <a:ext uri="{FF2B5EF4-FFF2-40B4-BE49-F238E27FC236}">
                <a16:creationId xmlns:a16="http://schemas.microsoft.com/office/drawing/2014/main" id="{149D6ABE-6BF6-C0F3-9B5F-8C0ED1D2A422}"/>
              </a:ext>
            </a:extLst>
          </p:cNvPr>
          <p:cNvSpPr txBox="1"/>
          <p:nvPr/>
        </p:nvSpPr>
        <p:spPr>
          <a:xfrm>
            <a:off x="1052052" y="6434797"/>
            <a:ext cx="808480" cy="2708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chemeClr val="bg1">
                    <a:lumMod val="65000"/>
                  </a:schemeClr>
                </a:solidFill>
              </a:rPr>
              <a:t>首页</a:t>
            </a:r>
            <a:endParaRPr lang="en-US" sz="1200" dirty="0" err="1">
              <a:solidFill>
                <a:schemeClr val="bg1">
                  <a:lumMod val="65000"/>
                </a:schemeClr>
              </a:solidFill>
            </a:endParaRPr>
          </a:p>
        </p:txBody>
      </p:sp>
      <p:sp>
        <p:nvSpPr>
          <p:cNvPr id="11" name="TextBox 10">
            <a:extLst>
              <a:ext uri="{FF2B5EF4-FFF2-40B4-BE49-F238E27FC236}">
                <a16:creationId xmlns:a16="http://schemas.microsoft.com/office/drawing/2014/main" id="{9F3E443B-69EB-B1E9-8BB8-E218988D8210}"/>
              </a:ext>
            </a:extLst>
          </p:cNvPr>
          <p:cNvSpPr txBox="1"/>
          <p:nvPr/>
        </p:nvSpPr>
        <p:spPr>
          <a:xfrm>
            <a:off x="2712586" y="6434797"/>
            <a:ext cx="808480" cy="2708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rgbClr val="29BA74"/>
                </a:solidFill>
              </a:rPr>
              <a:t>组织</a:t>
            </a:r>
            <a:endParaRPr lang="en-US" sz="1200" dirty="0" err="1">
              <a:solidFill>
                <a:srgbClr val="29BA74"/>
              </a:solidFill>
            </a:endParaRPr>
          </a:p>
        </p:txBody>
      </p:sp>
      <p:sp>
        <p:nvSpPr>
          <p:cNvPr id="12" name="TextBox 11">
            <a:extLst>
              <a:ext uri="{FF2B5EF4-FFF2-40B4-BE49-F238E27FC236}">
                <a16:creationId xmlns:a16="http://schemas.microsoft.com/office/drawing/2014/main" id="{69716740-26CE-9F18-CD01-BFEFA28F4398}"/>
              </a:ext>
            </a:extLst>
          </p:cNvPr>
          <p:cNvSpPr txBox="1"/>
          <p:nvPr/>
        </p:nvSpPr>
        <p:spPr>
          <a:xfrm>
            <a:off x="4373120" y="6434797"/>
            <a:ext cx="808480" cy="2708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chemeClr val="bg1">
                    <a:lumMod val="65000"/>
                  </a:schemeClr>
                </a:solidFill>
              </a:rPr>
              <a:t>我的</a:t>
            </a:r>
            <a:endParaRPr lang="en-US" sz="1200" dirty="0" err="1">
              <a:solidFill>
                <a:schemeClr val="bg1">
                  <a:lumMod val="65000"/>
                </a:schemeClr>
              </a:solidFill>
            </a:endParaRPr>
          </a:p>
        </p:txBody>
      </p:sp>
      <p:grpSp>
        <p:nvGrpSpPr>
          <p:cNvPr id="13" name="bcgBugs_Gender-neutral Front ">
            <a:extLst>
              <a:ext uri="{FF2B5EF4-FFF2-40B4-BE49-F238E27FC236}">
                <a16:creationId xmlns:a16="http://schemas.microsoft.com/office/drawing/2014/main" id="{C0760FEF-2AEC-74E3-7D9A-07E417B82A24}"/>
              </a:ext>
            </a:extLst>
          </p:cNvPr>
          <p:cNvGrpSpPr>
            <a:grpSpLocks noChangeAspect="1"/>
          </p:cNvGrpSpPr>
          <p:nvPr/>
        </p:nvGrpSpPr>
        <p:grpSpPr bwMode="auto">
          <a:xfrm>
            <a:off x="4548760" y="6026759"/>
            <a:ext cx="457200" cy="457200"/>
            <a:chOff x="2652" y="972"/>
            <a:chExt cx="2376" cy="2376"/>
          </a:xfrm>
        </p:grpSpPr>
        <p:sp>
          <p:nvSpPr>
            <p:cNvPr id="14" name="AutoShape 3">
              <a:extLst>
                <a:ext uri="{FF2B5EF4-FFF2-40B4-BE49-F238E27FC236}">
                  <a16:creationId xmlns:a16="http://schemas.microsoft.com/office/drawing/2014/main" id="{06AB3318-6086-6BA3-A16F-3BA3BFD991B7}"/>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5">
              <a:extLst>
                <a:ext uri="{FF2B5EF4-FFF2-40B4-BE49-F238E27FC236}">
                  <a16:creationId xmlns:a16="http://schemas.microsoft.com/office/drawing/2014/main" id="{A8AA0433-586A-EBC9-839E-E9C57610E8C4}"/>
                </a:ext>
              </a:extLst>
            </p:cNvPr>
            <p:cNvSpPr>
              <a:spLocks noEditPoints="1"/>
            </p:cNvSpPr>
            <p:nvPr/>
          </p:nvSpPr>
          <p:spPr bwMode="auto">
            <a:xfrm>
              <a:off x="2795" y="1181"/>
              <a:ext cx="2093" cy="1960"/>
            </a:xfrm>
            <a:custGeom>
              <a:avLst/>
              <a:gdLst>
                <a:gd name="T0" fmla="*/ 241 w 880"/>
                <a:gd name="T1" fmla="*/ 408 h 824"/>
                <a:gd name="T2" fmla="*/ 311 w 880"/>
                <a:gd name="T3" fmla="*/ 556 h 824"/>
                <a:gd name="T4" fmla="*/ 311 w 880"/>
                <a:gd name="T5" fmla="*/ 604 h 824"/>
                <a:gd name="T6" fmla="*/ 315 w 880"/>
                <a:gd name="T7" fmla="*/ 609 h 824"/>
                <a:gd name="T8" fmla="*/ 333 w 880"/>
                <a:gd name="T9" fmla="*/ 628 h 824"/>
                <a:gd name="T10" fmla="*/ 333 w 880"/>
                <a:gd name="T11" fmla="*/ 575 h 824"/>
                <a:gd name="T12" fmla="*/ 440 w 880"/>
                <a:gd name="T13" fmla="*/ 622 h 824"/>
                <a:gd name="T14" fmla="*/ 547 w 880"/>
                <a:gd name="T15" fmla="*/ 575 h 824"/>
                <a:gd name="T16" fmla="*/ 547 w 880"/>
                <a:gd name="T17" fmla="*/ 628 h 824"/>
                <a:gd name="T18" fmla="*/ 565 w 880"/>
                <a:gd name="T19" fmla="*/ 609 h 824"/>
                <a:gd name="T20" fmla="*/ 569 w 880"/>
                <a:gd name="T21" fmla="*/ 604 h 824"/>
                <a:gd name="T22" fmla="*/ 569 w 880"/>
                <a:gd name="T23" fmla="*/ 556 h 824"/>
                <a:gd name="T24" fmla="*/ 639 w 880"/>
                <a:gd name="T25" fmla="*/ 408 h 824"/>
                <a:gd name="T26" fmla="*/ 673 w 880"/>
                <a:gd name="T27" fmla="*/ 355 h 824"/>
                <a:gd name="T28" fmla="*/ 673 w 880"/>
                <a:gd name="T29" fmla="*/ 353 h 824"/>
                <a:gd name="T30" fmla="*/ 648 w 880"/>
                <a:gd name="T31" fmla="*/ 365 h 824"/>
                <a:gd name="T32" fmla="*/ 625 w 880"/>
                <a:gd name="T33" fmla="*/ 391 h 824"/>
                <a:gd name="T34" fmla="*/ 620 w 880"/>
                <a:gd name="T35" fmla="*/ 397 h 824"/>
                <a:gd name="T36" fmla="*/ 550 w 880"/>
                <a:gd name="T37" fmla="*/ 545 h 824"/>
                <a:gd name="T38" fmla="*/ 440 w 880"/>
                <a:gd name="T39" fmla="*/ 601 h 824"/>
                <a:gd name="T40" fmla="*/ 330 w 880"/>
                <a:gd name="T41" fmla="*/ 545 h 824"/>
                <a:gd name="T42" fmla="*/ 260 w 880"/>
                <a:gd name="T43" fmla="*/ 397 h 824"/>
                <a:gd name="T44" fmla="*/ 255 w 880"/>
                <a:gd name="T45" fmla="*/ 391 h 824"/>
                <a:gd name="T46" fmla="*/ 232 w 880"/>
                <a:gd name="T47" fmla="*/ 365 h 824"/>
                <a:gd name="T48" fmla="*/ 207 w 880"/>
                <a:gd name="T49" fmla="*/ 353 h 824"/>
                <a:gd name="T50" fmla="*/ 207 w 880"/>
                <a:gd name="T51" fmla="*/ 356 h 824"/>
                <a:gd name="T52" fmla="*/ 241 w 880"/>
                <a:gd name="T53" fmla="*/ 408 h 824"/>
                <a:gd name="T54" fmla="*/ 877 w 880"/>
                <a:gd name="T55" fmla="*/ 809 h 824"/>
                <a:gd name="T56" fmla="*/ 771 w 880"/>
                <a:gd name="T57" fmla="*/ 654 h 824"/>
                <a:gd name="T58" fmla="*/ 582 w 880"/>
                <a:gd name="T59" fmla="*/ 622 h 824"/>
                <a:gd name="T60" fmla="*/ 569 w 880"/>
                <a:gd name="T61" fmla="*/ 637 h 824"/>
                <a:gd name="T62" fmla="*/ 567 w 880"/>
                <a:gd name="T63" fmla="*/ 639 h 824"/>
                <a:gd name="T64" fmla="*/ 440 w 880"/>
                <a:gd name="T65" fmla="*/ 690 h 824"/>
                <a:gd name="T66" fmla="*/ 313 w 880"/>
                <a:gd name="T67" fmla="*/ 639 h 824"/>
                <a:gd name="T68" fmla="*/ 311 w 880"/>
                <a:gd name="T69" fmla="*/ 637 h 824"/>
                <a:gd name="T70" fmla="*/ 298 w 880"/>
                <a:gd name="T71" fmla="*/ 622 h 824"/>
                <a:gd name="T72" fmla="*/ 109 w 880"/>
                <a:gd name="T73" fmla="*/ 654 h 824"/>
                <a:gd name="T74" fmla="*/ 3 w 880"/>
                <a:gd name="T75" fmla="*/ 809 h 824"/>
                <a:gd name="T76" fmla="*/ 13 w 880"/>
                <a:gd name="T77" fmla="*/ 824 h 824"/>
                <a:gd name="T78" fmla="*/ 867 w 880"/>
                <a:gd name="T79" fmla="*/ 824 h 824"/>
                <a:gd name="T80" fmla="*/ 877 w 880"/>
                <a:gd name="T81" fmla="*/ 809 h 824"/>
                <a:gd name="T82" fmla="*/ 315 w 880"/>
                <a:gd name="T83" fmla="*/ 200 h 824"/>
                <a:gd name="T84" fmla="*/ 328 w 880"/>
                <a:gd name="T85" fmla="*/ 192 h 824"/>
                <a:gd name="T86" fmla="*/ 350 w 880"/>
                <a:gd name="T87" fmla="*/ 186 h 824"/>
                <a:gd name="T88" fmla="*/ 618 w 880"/>
                <a:gd name="T89" fmla="*/ 354 h 824"/>
                <a:gd name="T90" fmla="*/ 651 w 880"/>
                <a:gd name="T91" fmla="*/ 353 h 824"/>
                <a:gd name="T92" fmla="*/ 656 w 880"/>
                <a:gd name="T93" fmla="*/ 351 h 824"/>
                <a:gd name="T94" fmla="*/ 666 w 880"/>
                <a:gd name="T95" fmla="*/ 347 h 824"/>
                <a:gd name="T96" fmla="*/ 672 w 880"/>
                <a:gd name="T97" fmla="*/ 344 h 824"/>
                <a:gd name="T98" fmla="*/ 688 w 880"/>
                <a:gd name="T99" fmla="*/ 333 h 824"/>
                <a:gd name="T100" fmla="*/ 672 w 880"/>
                <a:gd name="T101" fmla="*/ 282 h 824"/>
                <a:gd name="T102" fmla="*/ 673 w 880"/>
                <a:gd name="T103" fmla="*/ 237 h 824"/>
                <a:gd name="T104" fmla="*/ 442 w 880"/>
                <a:gd name="T105" fmla="*/ 0 h 824"/>
                <a:gd name="T106" fmla="*/ 211 w 880"/>
                <a:gd name="T107" fmla="*/ 237 h 824"/>
                <a:gd name="T108" fmla="*/ 224 w 880"/>
                <a:gd name="T109" fmla="*/ 335 h 824"/>
                <a:gd name="T110" fmla="*/ 315 w 880"/>
                <a:gd name="T111" fmla="*/ 20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0" h="824">
                  <a:moveTo>
                    <a:pt x="241" y="408"/>
                  </a:moveTo>
                  <a:cubicBezTo>
                    <a:pt x="252" y="436"/>
                    <a:pt x="289" y="529"/>
                    <a:pt x="311" y="556"/>
                  </a:cubicBezTo>
                  <a:cubicBezTo>
                    <a:pt x="311" y="604"/>
                    <a:pt x="311" y="604"/>
                    <a:pt x="311" y="604"/>
                  </a:cubicBezTo>
                  <a:cubicBezTo>
                    <a:pt x="315" y="609"/>
                    <a:pt x="315" y="609"/>
                    <a:pt x="315" y="609"/>
                  </a:cubicBezTo>
                  <a:cubicBezTo>
                    <a:pt x="316" y="610"/>
                    <a:pt x="321" y="618"/>
                    <a:pt x="333" y="628"/>
                  </a:cubicBezTo>
                  <a:cubicBezTo>
                    <a:pt x="333" y="575"/>
                    <a:pt x="333" y="575"/>
                    <a:pt x="333" y="575"/>
                  </a:cubicBezTo>
                  <a:cubicBezTo>
                    <a:pt x="361" y="596"/>
                    <a:pt x="408" y="622"/>
                    <a:pt x="440" y="622"/>
                  </a:cubicBezTo>
                  <a:cubicBezTo>
                    <a:pt x="472" y="622"/>
                    <a:pt x="519" y="596"/>
                    <a:pt x="547" y="575"/>
                  </a:cubicBezTo>
                  <a:cubicBezTo>
                    <a:pt x="547" y="628"/>
                    <a:pt x="547" y="628"/>
                    <a:pt x="547" y="628"/>
                  </a:cubicBezTo>
                  <a:cubicBezTo>
                    <a:pt x="559" y="618"/>
                    <a:pt x="564" y="610"/>
                    <a:pt x="565" y="609"/>
                  </a:cubicBezTo>
                  <a:cubicBezTo>
                    <a:pt x="569" y="604"/>
                    <a:pt x="569" y="604"/>
                    <a:pt x="569" y="604"/>
                  </a:cubicBezTo>
                  <a:cubicBezTo>
                    <a:pt x="569" y="556"/>
                    <a:pt x="569" y="556"/>
                    <a:pt x="569" y="556"/>
                  </a:cubicBezTo>
                  <a:cubicBezTo>
                    <a:pt x="591" y="529"/>
                    <a:pt x="628" y="436"/>
                    <a:pt x="639" y="408"/>
                  </a:cubicBezTo>
                  <a:cubicBezTo>
                    <a:pt x="664" y="393"/>
                    <a:pt x="671" y="366"/>
                    <a:pt x="673" y="355"/>
                  </a:cubicBezTo>
                  <a:cubicBezTo>
                    <a:pt x="673" y="353"/>
                    <a:pt x="673" y="353"/>
                    <a:pt x="673" y="353"/>
                  </a:cubicBezTo>
                  <a:cubicBezTo>
                    <a:pt x="648" y="365"/>
                    <a:pt x="648" y="365"/>
                    <a:pt x="648" y="365"/>
                  </a:cubicBezTo>
                  <a:cubicBezTo>
                    <a:pt x="644" y="375"/>
                    <a:pt x="638" y="385"/>
                    <a:pt x="625" y="391"/>
                  </a:cubicBezTo>
                  <a:cubicBezTo>
                    <a:pt x="623" y="392"/>
                    <a:pt x="621" y="394"/>
                    <a:pt x="620" y="397"/>
                  </a:cubicBezTo>
                  <a:cubicBezTo>
                    <a:pt x="600" y="447"/>
                    <a:pt x="564" y="532"/>
                    <a:pt x="550" y="545"/>
                  </a:cubicBezTo>
                  <a:cubicBezTo>
                    <a:pt x="528" y="564"/>
                    <a:pt x="471" y="601"/>
                    <a:pt x="440" y="601"/>
                  </a:cubicBezTo>
                  <a:cubicBezTo>
                    <a:pt x="408" y="601"/>
                    <a:pt x="352" y="564"/>
                    <a:pt x="330" y="545"/>
                  </a:cubicBezTo>
                  <a:cubicBezTo>
                    <a:pt x="316" y="532"/>
                    <a:pt x="280" y="447"/>
                    <a:pt x="260" y="397"/>
                  </a:cubicBezTo>
                  <a:cubicBezTo>
                    <a:pt x="259" y="394"/>
                    <a:pt x="257" y="392"/>
                    <a:pt x="255" y="391"/>
                  </a:cubicBezTo>
                  <a:cubicBezTo>
                    <a:pt x="242" y="385"/>
                    <a:pt x="236" y="374"/>
                    <a:pt x="232" y="365"/>
                  </a:cubicBezTo>
                  <a:cubicBezTo>
                    <a:pt x="207" y="353"/>
                    <a:pt x="207" y="353"/>
                    <a:pt x="207" y="353"/>
                  </a:cubicBezTo>
                  <a:cubicBezTo>
                    <a:pt x="207" y="356"/>
                    <a:pt x="207" y="356"/>
                    <a:pt x="207" y="356"/>
                  </a:cubicBezTo>
                  <a:cubicBezTo>
                    <a:pt x="210" y="369"/>
                    <a:pt x="217" y="394"/>
                    <a:pt x="241" y="408"/>
                  </a:cubicBezTo>
                  <a:close/>
                  <a:moveTo>
                    <a:pt x="877" y="809"/>
                  </a:moveTo>
                  <a:cubicBezTo>
                    <a:pt x="864" y="773"/>
                    <a:pt x="825" y="678"/>
                    <a:pt x="771" y="654"/>
                  </a:cubicBezTo>
                  <a:cubicBezTo>
                    <a:pt x="705" y="623"/>
                    <a:pt x="582" y="622"/>
                    <a:pt x="582" y="622"/>
                  </a:cubicBezTo>
                  <a:cubicBezTo>
                    <a:pt x="582" y="622"/>
                    <a:pt x="578" y="628"/>
                    <a:pt x="569" y="637"/>
                  </a:cubicBezTo>
                  <a:cubicBezTo>
                    <a:pt x="568" y="638"/>
                    <a:pt x="567" y="638"/>
                    <a:pt x="567" y="639"/>
                  </a:cubicBezTo>
                  <a:cubicBezTo>
                    <a:pt x="545" y="659"/>
                    <a:pt x="503" y="689"/>
                    <a:pt x="440" y="690"/>
                  </a:cubicBezTo>
                  <a:cubicBezTo>
                    <a:pt x="377" y="689"/>
                    <a:pt x="335" y="659"/>
                    <a:pt x="313" y="639"/>
                  </a:cubicBezTo>
                  <a:cubicBezTo>
                    <a:pt x="313" y="638"/>
                    <a:pt x="312" y="638"/>
                    <a:pt x="311" y="637"/>
                  </a:cubicBezTo>
                  <a:cubicBezTo>
                    <a:pt x="302" y="628"/>
                    <a:pt x="298" y="622"/>
                    <a:pt x="298" y="622"/>
                  </a:cubicBezTo>
                  <a:cubicBezTo>
                    <a:pt x="298" y="622"/>
                    <a:pt x="175" y="623"/>
                    <a:pt x="109" y="654"/>
                  </a:cubicBezTo>
                  <a:cubicBezTo>
                    <a:pt x="55" y="678"/>
                    <a:pt x="16" y="773"/>
                    <a:pt x="3" y="809"/>
                  </a:cubicBezTo>
                  <a:cubicBezTo>
                    <a:pt x="0" y="816"/>
                    <a:pt x="5" y="824"/>
                    <a:pt x="13" y="824"/>
                  </a:cubicBezTo>
                  <a:cubicBezTo>
                    <a:pt x="867" y="824"/>
                    <a:pt x="867" y="824"/>
                    <a:pt x="867" y="824"/>
                  </a:cubicBezTo>
                  <a:cubicBezTo>
                    <a:pt x="875" y="824"/>
                    <a:pt x="880" y="816"/>
                    <a:pt x="877" y="809"/>
                  </a:cubicBezTo>
                  <a:close/>
                  <a:moveTo>
                    <a:pt x="315" y="200"/>
                  </a:moveTo>
                  <a:cubicBezTo>
                    <a:pt x="318" y="197"/>
                    <a:pt x="323" y="194"/>
                    <a:pt x="328" y="192"/>
                  </a:cubicBezTo>
                  <a:cubicBezTo>
                    <a:pt x="335" y="188"/>
                    <a:pt x="342" y="186"/>
                    <a:pt x="350" y="186"/>
                  </a:cubicBezTo>
                  <a:cubicBezTo>
                    <a:pt x="488" y="194"/>
                    <a:pt x="592" y="340"/>
                    <a:pt x="618" y="354"/>
                  </a:cubicBezTo>
                  <a:cubicBezTo>
                    <a:pt x="627" y="360"/>
                    <a:pt x="639" y="358"/>
                    <a:pt x="651" y="353"/>
                  </a:cubicBezTo>
                  <a:cubicBezTo>
                    <a:pt x="653" y="353"/>
                    <a:pt x="655" y="352"/>
                    <a:pt x="656" y="351"/>
                  </a:cubicBezTo>
                  <a:cubicBezTo>
                    <a:pt x="666" y="347"/>
                    <a:pt x="666" y="347"/>
                    <a:pt x="666" y="347"/>
                  </a:cubicBezTo>
                  <a:cubicBezTo>
                    <a:pt x="668" y="346"/>
                    <a:pt x="670" y="345"/>
                    <a:pt x="672" y="344"/>
                  </a:cubicBezTo>
                  <a:cubicBezTo>
                    <a:pt x="682" y="338"/>
                    <a:pt x="688" y="333"/>
                    <a:pt x="688" y="333"/>
                  </a:cubicBezTo>
                  <a:cubicBezTo>
                    <a:pt x="675" y="313"/>
                    <a:pt x="671" y="295"/>
                    <a:pt x="672" y="282"/>
                  </a:cubicBezTo>
                  <a:cubicBezTo>
                    <a:pt x="674" y="268"/>
                    <a:pt x="673" y="252"/>
                    <a:pt x="673" y="237"/>
                  </a:cubicBezTo>
                  <a:cubicBezTo>
                    <a:pt x="673" y="106"/>
                    <a:pt x="573" y="0"/>
                    <a:pt x="442" y="0"/>
                  </a:cubicBezTo>
                  <a:cubicBezTo>
                    <a:pt x="312" y="0"/>
                    <a:pt x="211" y="106"/>
                    <a:pt x="211" y="237"/>
                  </a:cubicBezTo>
                  <a:cubicBezTo>
                    <a:pt x="211" y="266"/>
                    <a:pt x="216" y="324"/>
                    <a:pt x="224" y="335"/>
                  </a:cubicBezTo>
                  <a:cubicBezTo>
                    <a:pt x="247" y="356"/>
                    <a:pt x="250" y="244"/>
                    <a:pt x="315" y="20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 name="bcgIconsWhite_Contacts ">
            <a:extLst>
              <a:ext uri="{FF2B5EF4-FFF2-40B4-BE49-F238E27FC236}">
                <a16:creationId xmlns:a16="http://schemas.microsoft.com/office/drawing/2014/main" id="{4B93C4EF-709D-954D-7194-E12672B933A6}"/>
              </a:ext>
            </a:extLst>
          </p:cNvPr>
          <p:cNvGrpSpPr>
            <a:grpSpLocks noChangeAspect="1"/>
          </p:cNvGrpSpPr>
          <p:nvPr/>
        </p:nvGrpSpPr>
        <p:grpSpPr>
          <a:xfrm>
            <a:off x="2888006" y="6026759"/>
            <a:ext cx="457641" cy="457200"/>
            <a:chOff x="5273675" y="2606675"/>
            <a:chExt cx="1646238" cy="1644650"/>
          </a:xfrm>
        </p:grpSpPr>
        <p:sp>
          <p:nvSpPr>
            <p:cNvPr id="17" name="AutoShape 3">
              <a:extLst>
                <a:ext uri="{FF2B5EF4-FFF2-40B4-BE49-F238E27FC236}">
                  <a16:creationId xmlns:a16="http://schemas.microsoft.com/office/drawing/2014/main" id="{5194BCD2-4359-C33D-7A97-9C5E38CFDF16}"/>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7441311E-ED08-44A9-6E28-1E6CB366479E}"/>
                </a:ext>
              </a:extLst>
            </p:cNvPr>
            <p:cNvSpPr>
              <a:spLocks/>
            </p:cNvSpPr>
            <p:nvPr/>
          </p:nvSpPr>
          <p:spPr bwMode="auto">
            <a:xfrm>
              <a:off x="5578475" y="2889250"/>
              <a:ext cx="968375" cy="1192213"/>
            </a:xfrm>
            <a:custGeom>
              <a:avLst/>
              <a:gdLst>
                <a:gd name="connsiteX0" fmla="*/ 7161 w 968375"/>
                <a:gd name="connsiteY0" fmla="*/ 931863 h 1192213"/>
                <a:gd name="connsiteX1" fmla="*/ 69458 w 968375"/>
                <a:gd name="connsiteY1" fmla="*/ 931863 h 1192213"/>
                <a:gd name="connsiteX2" fmla="*/ 84496 w 968375"/>
                <a:gd name="connsiteY2" fmla="*/ 931863 h 1192213"/>
                <a:gd name="connsiteX3" fmla="*/ 100249 w 968375"/>
                <a:gd name="connsiteY3" fmla="*/ 931863 h 1192213"/>
                <a:gd name="connsiteX4" fmla="*/ 100965 w 968375"/>
                <a:gd name="connsiteY4" fmla="*/ 931863 h 1192213"/>
                <a:gd name="connsiteX5" fmla="*/ 116003 w 968375"/>
                <a:gd name="connsiteY5" fmla="*/ 931863 h 1192213"/>
                <a:gd name="connsiteX6" fmla="*/ 132472 w 968375"/>
                <a:gd name="connsiteY6" fmla="*/ 931863 h 1192213"/>
                <a:gd name="connsiteX7" fmla="*/ 161115 w 968375"/>
                <a:gd name="connsiteY7" fmla="*/ 931863 h 1192213"/>
                <a:gd name="connsiteX8" fmla="*/ 168275 w 968375"/>
                <a:gd name="connsiteY8" fmla="*/ 939022 h 1192213"/>
                <a:gd name="connsiteX9" fmla="*/ 168275 w 968375"/>
                <a:gd name="connsiteY9" fmla="*/ 1034242 h 1192213"/>
                <a:gd name="connsiteX10" fmla="*/ 161115 w 968375"/>
                <a:gd name="connsiteY10" fmla="*/ 1041401 h 1192213"/>
                <a:gd name="connsiteX11" fmla="*/ 132472 w 968375"/>
                <a:gd name="connsiteY11" fmla="*/ 1041401 h 1192213"/>
                <a:gd name="connsiteX12" fmla="*/ 116003 w 968375"/>
                <a:gd name="connsiteY12" fmla="*/ 1041401 h 1192213"/>
                <a:gd name="connsiteX13" fmla="*/ 100965 w 968375"/>
                <a:gd name="connsiteY13" fmla="*/ 1041401 h 1192213"/>
                <a:gd name="connsiteX14" fmla="*/ 100249 w 968375"/>
                <a:gd name="connsiteY14" fmla="*/ 1041401 h 1192213"/>
                <a:gd name="connsiteX15" fmla="*/ 84496 w 968375"/>
                <a:gd name="connsiteY15" fmla="*/ 1041401 h 1192213"/>
                <a:gd name="connsiteX16" fmla="*/ 69458 w 968375"/>
                <a:gd name="connsiteY16" fmla="*/ 1041401 h 1192213"/>
                <a:gd name="connsiteX17" fmla="*/ 7161 w 968375"/>
                <a:gd name="connsiteY17" fmla="*/ 1041401 h 1192213"/>
                <a:gd name="connsiteX18" fmla="*/ 0 w 968375"/>
                <a:gd name="connsiteY18" fmla="*/ 1034242 h 1192213"/>
                <a:gd name="connsiteX19" fmla="*/ 0 w 968375"/>
                <a:gd name="connsiteY19" fmla="*/ 939022 h 1192213"/>
                <a:gd name="connsiteX20" fmla="*/ 7161 w 968375"/>
                <a:gd name="connsiteY20" fmla="*/ 931863 h 1192213"/>
                <a:gd name="connsiteX21" fmla="*/ 69850 w 968375"/>
                <a:gd name="connsiteY21" fmla="*/ 811213 h 1192213"/>
                <a:gd name="connsiteX22" fmla="*/ 84138 w 968375"/>
                <a:gd name="connsiteY22" fmla="*/ 811213 h 1192213"/>
                <a:gd name="connsiteX23" fmla="*/ 100013 w 968375"/>
                <a:gd name="connsiteY23" fmla="*/ 811213 h 1192213"/>
                <a:gd name="connsiteX24" fmla="*/ 101600 w 968375"/>
                <a:gd name="connsiteY24" fmla="*/ 811213 h 1192213"/>
                <a:gd name="connsiteX25" fmla="*/ 101600 w 968375"/>
                <a:gd name="connsiteY25" fmla="*/ 900113 h 1192213"/>
                <a:gd name="connsiteX26" fmla="*/ 100013 w 968375"/>
                <a:gd name="connsiteY26" fmla="*/ 900113 h 1192213"/>
                <a:gd name="connsiteX27" fmla="*/ 84138 w 968375"/>
                <a:gd name="connsiteY27" fmla="*/ 900113 h 1192213"/>
                <a:gd name="connsiteX28" fmla="*/ 69850 w 968375"/>
                <a:gd name="connsiteY28" fmla="*/ 900113 h 1192213"/>
                <a:gd name="connsiteX29" fmla="*/ 7161 w 968375"/>
                <a:gd name="connsiteY29" fmla="*/ 671513 h 1192213"/>
                <a:gd name="connsiteX30" fmla="*/ 69458 w 968375"/>
                <a:gd name="connsiteY30" fmla="*/ 671513 h 1192213"/>
                <a:gd name="connsiteX31" fmla="*/ 84496 w 968375"/>
                <a:gd name="connsiteY31" fmla="*/ 671513 h 1192213"/>
                <a:gd name="connsiteX32" fmla="*/ 100249 w 968375"/>
                <a:gd name="connsiteY32" fmla="*/ 671513 h 1192213"/>
                <a:gd name="connsiteX33" fmla="*/ 100965 w 968375"/>
                <a:gd name="connsiteY33" fmla="*/ 671513 h 1192213"/>
                <a:gd name="connsiteX34" fmla="*/ 116003 w 968375"/>
                <a:gd name="connsiteY34" fmla="*/ 671513 h 1192213"/>
                <a:gd name="connsiteX35" fmla="*/ 132472 w 968375"/>
                <a:gd name="connsiteY35" fmla="*/ 671513 h 1192213"/>
                <a:gd name="connsiteX36" fmla="*/ 161115 w 968375"/>
                <a:gd name="connsiteY36" fmla="*/ 671513 h 1192213"/>
                <a:gd name="connsiteX37" fmla="*/ 168275 w 968375"/>
                <a:gd name="connsiteY37" fmla="*/ 678672 h 1192213"/>
                <a:gd name="connsiteX38" fmla="*/ 168275 w 968375"/>
                <a:gd name="connsiteY38" fmla="*/ 773892 h 1192213"/>
                <a:gd name="connsiteX39" fmla="*/ 161115 w 968375"/>
                <a:gd name="connsiteY39" fmla="*/ 781051 h 1192213"/>
                <a:gd name="connsiteX40" fmla="*/ 132472 w 968375"/>
                <a:gd name="connsiteY40" fmla="*/ 781051 h 1192213"/>
                <a:gd name="connsiteX41" fmla="*/ 116003 w 968375"/>
                <a:gd name="connsiteY41" fmla="*/ 781051 h 1192213"/>
                <a:gd name="connsiteX42" fmla="*/ 100965 w 968375"/>
                <a:gd name="connsiteY42" fmla="*/ 781051 h 1192213"/>
                <a:gd name="connsiteX43" fmla="*/ 100249 w 968375"/>
                <a:gd name="connsiteY43" fmla="*/ 781051 h 1192213"/>
                <a:gd name="connsiteX44" fmla="*/ 84496 w 968375"/>
                <a:gd name="connsiteY44" fmla="*/ 781051 h 1192213"/>
                <a:gd name="connsiteX45" fmla="*/ 69458 w 968375"/>
                <a:gd name="connsiteY45" fmla="*/ 781051 h 1192213"/>
                <a:gd name="connsiteX46" fmla="*/ 7161 w 968375"/>
                <a:gd name="connsiteY46" fmla="*/ 781051 h 1192213"/>
                <a:gd name="connsiteX47" fmla="*/ 0 w 968375"/>
                <a:gd name="connsiteY47" fmla="*/ 773892 h 1192213"/>
                <a:gd name="connsiteX48" fmla="*/ 0 w 968375"/>
                <a:gd name="connsiteY48" fmla="*/ 678672 h 1192213"/>
                <a:gd name="connsiteX49" fmla="*/ 7161 w 968375"/>
                <a:gd name="connsiteY49" fmla="*/ 671513 h 1192213"/>
                <a:gd name="connsiteX50" fmla="*/ 69850 w 968375"/>
                <a:gd name="connsiteY50" fmla="*/ 550863 h 1192213"/>
                <a:gd name="connsiteX51" fmla="*/ 84138 w 968375"/>
                <a:gd name="connsiteY51" fmla="*/ 550863 h 1192213"/>
                <a:gd name="connsiteX52" fmla="*/ 100013 w 968375"/>
                <a:gd name="connsiteY52" fmla="*/ 550863 h 1192213"/>
                <a:gd name="connsiteX53" fmla="*/ 101600 w 968375"/>
                <a:gd name="connsiteY53" fmla="*/ 550863 h 1192213"/>
                <a:gd name="connsiteX54" fmla="*/ 101600 w 968375"/>
                <a:gd name="connsiteY54" fmla="*/ 639763 h 1192213"/>
                <a:gd name="connsiteX55" fmla="*/ 100013 w 968375"/>
                <a:gd name="connsiteY55" fmla="*/ 639763 h 1192213"/>
                <a:gd name="connsiteX56" fmla="*/ 84138 w 968375"/>
                <a:gd name="connsiteY56" fmla="*/ 639763 h 1192213"/>
                <a:gd name="connsiteX57" fmla="*/ 69850 w 968375"/>
                <a:gd name="connsiteY57" fmla="*/ 639763 h 1192213"/>
                <a:gd name="connsiteX58" fmla="*/ 7161 w 968375"/>
                <a:gd name="connsiteY58" fmla="*/ 411163 h 1192213"/>
                <a:gd name="connsiteX59" fmla="*/ 69458 w 968375"/>
                <a:gd name="connsiteY59" fmla="*/ 411163 h 1192213"/>
                <a:gd name="connsiteX60" fmla="*/ 84496 w 968375"/>
                <a:gd name="connsiteY60" fmla="*/ 411163 h 1192213"/>
                <a:gd name="connsiteX61" fmla="*/ 100249 w 968375"/>
                <a:gd name="connsiteY61" fmla="*/ 411163 h 1192213"/>
                <a:gd name="connsiteX62" fmla="*/ 100965 w 968375"/>
                <a:gd name="connsiteY62" fmla="*/ 411163 h 1192213"/>
                <a:gd name="connsiteX63" fmla="*/ 116003 w 968375"/>
                <a:gd name="connsiteY63" fmla="*/ 411163 h 1192213"/>
                <a:gd name="connsiteX64" fmla="*/ 132472 w 968375"/>
                <a:gd name="connsiteY64" fmla="*/ 411163 h 1192213"/>
                <a:gd name="connsiteX65" fmla="*/ 161115 w 968375"/>
                <a:gd name="connsiteY65" fmla="*/ 411163 h 1192213"/>
                <a:gd name="connsiteX66" fmla="*/ 168275 w 968375"/>
                <a:gd name="connsiteY66" fmla="*/ 418218 h 1192213"/>
                <a:gd name="connsiteX67" fmla="*/ 168275 w 968375"/>
                <a:gd name="connsiteY67" fmla="*/ 512057 h 1192213"/>
                <a:gd name="connsiteX68" fmla="*/ 161115 w 968375"/>
                <a:gd name="connsiteY68" fmla="*/ 519113 h 1192213"/>
                <a:gd name="connsiteX69" fmla="*/ 132472 w 968375"/>
                <a:gd name="connsiteY69" fmla="*/ 519113 h 1192213"/>
                <a:gd name="connsiteX70" fmla="*/ 116003 w 968375"/>
                <a:gd name="connsiteY70" fmla="*/ 519113 h 1192213"/>
                <a:gd name="connsiteX71" fmla="*/ 100965 w 968375"/>
                <a:gd name="connsiteY71" fmla="*/ 519113 h 1192213"/>
                <a:gd name="connsiteX72" fmla="*/ 100249 w 968375"/>
                <a:gd name="connsiteY72" fmla="*/ 519113 h 1192213"/>
                <a:gd name="connsiteX73" fmla="*/ 84496 w 968375"/>
                <a:gd name="connsiteY73" fmla="*/ 519113 h 1192213"/>
                <a:gd name="connsiteX74" fmla="*/ 69458 w 968375"/>
                <a:gd name="connsiteY74" fmla="*/ 519113 h 1192213"/>
                <a:gd name="connsiteX75" fmla="*/ 7161 w 968375"/>
                <a:gd name="connsiteY75" fmla="*/ 519113 h 1192213"/>
                <a:gd name="connsiteX76" fmla="*/ 0 w 968375"/>
                <a:gd name="connsiteY76" fmla="*/ 512057 h 1192213"/>
                <a:gd name="connsiteX77" fmla="*/ 0 w 968375"/>
                <a:gd name="connsiteY77" fmla="*/ 418218 h 1192213"/>
                <a:gd name="connsiteX78" fmla="*/ 7161 w 968375"/>
                <a:gd name="connsiteY78" fmla="*/ 411163 h 1192213"/>
                <a:gd name="connsiteX79" fmla="*/ 599481 w 968375"/>
                <a:gd name="connsiteY79" fmla="*/ 377825 h 1192213"/>
                <a:gd name="connsiteX80" fmla="*/ 439365 w 968375"/>
                <a:gd name="connsiteY80" fmla="*/ 480546 h 1192213"/>
                <a:gd name="connsiteX81" fmla="*/ 496549 w 968375"/>
                <a:gd name="connsiteY81" fmla="*/ 682421 h 1192213"/>
                <a:gd name="connsiteX82" fmla="*/ 496549 w 968375"/>
                <a:gd name="connsiteY82" fmla="*/ 778721 h 1192213"/>
                <a:gd name="connsiteX83" fmla="*/ 502268 w 968375"/>
                <a:gd name="connsiteY83" fmla="*/ 787995 h 1192213"/>
                <a:gd name="connsiteX84" fmla="*/ 654521 w 968375"/>
                <a:gd name="connsiteY84" fmla="*/ 814388 h 1192213"/>
                <a:gd name="connsiteX85" fmla="*/ 663814 w 968375"/>
                <a:gd name="connsiteY85" fmla="*/ 805115 h 1192213"/>
                <a:gd name="connsiteX86" fmla="*/ 663814 w 968375"/>
                <a:gd name="connsiteY86" fmla="*/ 738774 h 1192213"/>
                <a:gd name="connsiteX87" fmla="*/ 741728 w 968375"/>
                <a:gd name="connsiteY87" fmla="*/ 733781 h 1192213"/>
                <a:gd name="connsiteX88" fmla="*/ 754594 w 968375"/>
                <a:gd name="connsiteY88" fmla="*/ 690981 h 1192213"/>
                <a:gd name="connsiteX89" fmla="*/ 755309 w 968375"/>
                <a:gd name="connsiteY89" fmla="*/ 688127 h 1192213"/>
                <a:gd name="connsiteX90" fmla="*/ 752450 w 968375"/>
                <a:gd name="connsiteY90" fmla="*/ 636054 h 1192213"/>
                <a:gd name="connsiteX91" fmla="*/ 791049 w 968375"/>
                <a:gd name="connsiteY91" fmla="*/ 614653 h 1192213"/>
                <a:gd name="connsiteX92" fmla="*/ 773894 w 968375"/>
                <a:gd name="connsiteY92" fmla="*/ 579700 h 1192213"/>
                <a:gd name="connsiteX93" fmla="*/ 770320 w 968375"/>
                <a:gd name="connsiteY93" fmla="*/ 576133 h 1192213"/>
                <a:gd name="connsiteX94" fmla="*/ 754594 w 968375"/>
                <a:gd name="connsiteY94" fmla="*/ 544033 h 1192213"/>
                <a:gd name="connsiteX95" fmla="*/ 750305 w 968375"/>
                <a:gd name="connsiteY95" fmla="*/ 527626 h 1192213"/>
                <a:gd name="connsiteX96" fmla="*/ 743872 w 968375"/>
                <a:gd name="connsiteY96" fmla="*/ 503373 h 1192213"/>
                <a:gd name="connsiteX97" fmla="*/ 738869 w 968375"/>
                <a:gd name="connsiteY97" fmla="*/ 458432 h 1192213"/>
                <a:gd name="connsiteX98" fmla="*/ 743157 w 968375"/>
                <a:gd name="connsiteY98" fmla="*/ 459859 h 1192213"/>
                <a:gd name="connsiteX99" fmla="*/ 744587 w 968375"/>
                <a:gd name="connsiteY99" fmla="*/ 458432 h 1192213"/>
                <a:gd name="connsiteX100" fmla="*/ 771035 w 968375"/>
                <a:gd name="connsiteY100" fmla="*/ 402792 h 1192213"/>
                <a:gd name="connsiteX101" fmla="*/ 599481 w 968375"/>
                <a:gd name="connsiteY101" fmla="*/ 377825 h 1192213"/>
                <a:gd name="connsiteX102" fmla="*/ 69850 w 968375"/>
                <a:gd name="connsiteY102" fmla="*/ 290513 h 1192213"/>
                <a:gd name="connsiteX103" fmla="*/ 84138 w 968375"/>
                <a:gd name="connsiteY103" fmla="*/ 290513 h 1192213"/>
                <a:gd name="connsiteX104" fmla="*/ 100013 w 968375"/>
                <a:gd name="connsiteY104" fmla="*/ 290513 h 1192213"/>
                <a:gd name="connsiteX105" fmla="*/ 101600 w 968375"/>
                <a:gd name="connsiteY105" fmla="*/ 290513 h 1192213"/>
                <a:gd name="connsiteX106" fmla="*/ 101600 w 968375"/>
                <a:gd name="connsiteY106" fmla="*/ 379413 h 1192213"/>
                <a:gd name="connsiteX107" fmla="*/ 100013 w 968375"/>
                <a:gd name="connsiteY107" fmla="*/ 379413 h 1192213"/>
                <a:gd name="connsiteX108" fmla="*/ 84138 w 968375"/>
                <a:gd name="connsiteY108" fmla="*/ 379413 h 1192213"/>
                <a:gd name="connsiteX109" fmla="*/ 69850 w 968375"/>
                <a:gd name="connsiteY109" fmla="*/ 379413 h 1192213"/>
                <a:gd name="connsiteX110" fmla="*/ 7161 w 968375"/>
                <a:gd name="connsiteY110" fmla="*/ 150813 h 1192213"/>
                <a:gd name="connsiteX111" fmla="*/ 69458 w 968375"/>
                <a:gd name="connsiteY111" fmla="*/ 150813 h 1192213"/>
                <a:gd name="connsiteX112" fmla="*/ 84496 w 968375"/>
                <a:gd name="connsiteY112" fmla="*/ 150813 h 1192213"/>
                <a:gd name="connsiteX113" fmla="*/ 100249 w 968375"/>
                <a:gd name="connsiteY113" fmla="*/ 150813 h 1192213"/>
                <a:gd name="connsiteX114" fmla="*/ 100965 w 968375"/>
                <a:gd name="connsiteY114" fmla="*/ 150813 h 1192213"/>
                <a:gd name="connsiteX115" fmla="*/ 116003 w 968375"/>
                <a:gd name="connsiteY115" fmla="*/ 150813 h 1192213"/>
                <a:gd name="connsiteX116" fmla="*/ 132472 w 968375"/>
                <a:gd name="connsiteY116" fmla="*/ 150813 h 1192213"/>
                <a:gd name="connsiteX117" fmla="*/ 161115 w 968375"/>
                <a:gd name="connsiteY117" fmla="*/ 150813 h 1192213"/>
                <a:gd name="connsiteX118" fmla="*/ 168275 w 968375"/>
                <a:gd name="connsiteY118" fmla="*/ 157868 h 1192213"/>
                <a:gd name="connsiteX119" fmla="*/ 168275 w 968375"/>
                <a:gd name="connsiteY119" fmla="*/ 251707 h 1192213"/>
                <a:gd name="connsiteX120" fmla="*/ 161115 w 968375"/>
                <a:gd name="connsiteY120" fmla="*/ 258763 h 1192213"/>
                <a:gd name="connsiteX121" fmla="*/ 132472 w 968375"/>
                <a:gd name="connsiteY121" fmla="*/ 258763 h 1192213"/>
                <a:gd name="connsiteX122" fmla="*/ 116003 w 968375"/>
                <a:gd name="connsiteY122" fmla="*/ 258763 h 1192213"/>
                <a:gd name="connsiteX123" fmla="*/ 100965 w 968375"/>
                <a:gd name="connsiteY123" fmla="*/ 258763 h 1192213"/>
                <a:gd name="connsiteX124" fmla="*/ 100249 w 968375"/>
                <a:gd name="connsiteY124" fmla="*/ 258763 h 1192213"/>
                <a:gd name="connsiteX125" fmla="*/ 84496 w 968375"/>
                <a:gd name="connsiteY125" fmla="*/ 258763 h 1192213"/>
                <a:gd name="connsiteX126" fmla="*/ 69458 w 968375"/>
                <a:gd name="connsiteY126" fmla="*/ 258763 h 1192213"/>
                <a:gd name="connsiteX127" fmla="*/ 7161 w 968375"/>
                <a:gd name="connsiteY127" fmla="*/ 258763 h 1192213"/>
                <a:gd name="connsiteX128" fmla="*/ 0 w 968375"/>
                <a:gd name="connsiteY128" fmla="*/ 251707 h 1192213"/>
                <a:gd name="connsiteX129" fmla="*/ 0 w 968375"/>
                <a:gd name="connsiteY129" fmla="*/ 157868 h 1192213"/>
                <a:gd name="connsiteX130" fmla="*/ 7161 w 968375"/>
                <a:gd name="connsiteY130" fmla="*/ 150813 h 1192213"/>
                <a:gd name="connsiteX131" fmla="*/ 328613 w 968375"/>
                <a:gd name="connsiteY131" fmla="*/ 63500 h 1192213"/>
                <a:gd name="connsiteX132" fmla="*/ 906463 w 968375"/>
                <a:gd name="connsiteY132" fmla="*/ 63500 h 1192213"/>
                <a:gd name="connsiteX133" fmla="*/ 906463 w 968375"/>
                <a:gd name="connsiteY133" fmla="*/ 1128713 h 1192213"/>
                <a:gd name="connsiteX134" fmla="*/ 328613 w 968375"/>
                <a:gd name="connsiteY134" fmla="*/ 1128713 h 1192213"/>
                <a:gd name="connsiteX135" fmla="*/ 133350 w 968375"/>
                <a:gd name="connsiteY135" fmla="*/ 63500 h 1192213"/>
                <a:gd name="connsiteX136" fmla="*/ 296863 w 968375"/>
                <a:gd name="connsiteY136" fmla="*/ 63500 h 1192213"/>
                <a:gd name="connsiteX137" fmla="*/ 296863 w 968375"/>
                <a:gd name="connsiteY137" fmla="*/ 1128713 h 1192213"/>
                <a:gd name="connsiteX138" fmla="*/ 133350 w 968375"/>
                <a:gd name="connsiteY138" fmla="*/ 1128713 h 1192213"/>
                <a:gd name="connsiteX139" fmla="*/ 133350 w 968375"/>
                <a:gd name="connsiteY139" fmla="*/ 1071674 h 1192213"/>
                <a:gd name="connsiteX140" fmla="*/ 161664 w 968375"/>
                <a:gd name="connsiteY140" fmla="*/ 1071674 h 1192213"/>
                <a:gd name="connsiteX141" fmla="*/ 199888 w 968375"/>
                <a:gd name="connsiteY141" fmla="*/ 1033172 h 1192213"/>
                <a:gd name="connsiteX142" fmla="*/ 199888 w 968375"/>
                <a:gd name="connsiteY142" fmla="*/ 938344 h 1192213"/>
                <a:gd name="connsiteX143" fmla="*/ 161664 w 968375"/>
                <a:gd name="connsiteY143" fmla="*/ 899842 h 1192213"/>
                <a:gd name="connsiteX144" fmla="*/ 133350 w 968375"/>
                <a:gd name="connsiteY144" fmla="*/ 899842 h 1192213"/>
                <a:gd name="connsiteX145" fmla="*/ 133350 w 968375"/>
                <a:gd name="connsiteY145" fmla="*/ 811431 h 1192213"/>
                <a:gd name="connsiteX146" fmla="*/ 161664 w 968375"/>
                <a:gd name="connsiteY146" fmla="*/ 811431 h 1192213"/>
                <a:gd name="connsiteX147" fmla="*/ 199888 w 968375"/>
                <a:gd name="connsiteY147" fmla="*/ 772929 h 1192213"/>
                <a:gd name="connsiteX148" fmla="*/ 199888 w 968375"/>
                <a:gd name="connsiteY148" fmla="*/ 678101 h 1192213"/>
                <a:gd name="connsiteX149" fmla="*/ 161664 w 968375"/>
                <a:gd name="connsiteY149" fmla="*/ 639599 h 1192213"/>
                <a:gd name="connsiteX150" fmla="*/ 133350 w 968375"/>
                <a:gd name="connsiteY150" fmla="*/ 639599 h 1192213"/>
                <a:gd name="connsiteX151" fmla="*/ 133350 w 968375"/>
                <a:gd name="connsiteY151" fmla="*/ 551188 h 1192213"/>
                <a:gd name="connsiteX152" fmla="*/ 161664 w 968375"/>
                <a:gd name="connsiteY152" fmla="*/ 551188 h 1192213"/>
                <a:gd name="connsiteX153" fmla="*/ 199888 w 968375"/>
                <a:gd name="connsiteY153" fmla="*/ 512686 h 1192213"/>
                <a:gd name="connsiteX154" fmla="*/ 199888 w 968375"/>
                <a:gd name="connsiteY154" fmla="*/ 417858 h 1192213"/>
                <a:gd name="connsiteX155" fmla="*/ 161664 w 968375"/>
                <a:gd name="connsiteY155" fmla="*/ 379356 h 1192213"/>
                <a:gd name="connsiteX156" fmla="*/ 133350 w 968375"/>
                <a:gd name="connsiteY156" fmla="*/ 379356 h 1192213"/>
                <a:gd name="connsiteX157" fmla="*/ 133350 w 968375"/>
                <a:gd name="connsiteY157" fmla="*/ 290945 h 1192213"/>
                <a:gd name="connsiteX158" fmla="*/ 161664 w 968375"/>
                <a:gd name="connsiteY158" fmla="*/ 290945 h 1192213"/>
                <a:gd name="connsiteX159" fmla="*/ 199888 w 968375"/>
                <a:gd name="connsiteY159" fmla="*/ 252443 h 1192213"/>
                <a:gd name="connsiteX160" fmla="*/ 199888 w 968375"/>
                <a:gd name="connsiteY160" fmla="*/ 157615 h 1192213"/>
                <a:gd name="connsiteX161" fmla="*/ 161664 w 968375"/>
                <a:gd name="connsiteY161" fmla="*/ 119113 h 1192213"/>
                <a:gd name="connsiteX162" fmla="*/ 133350 w 968375"/>
                <a:gd name="connsiteY162" fmla="*/ 119113 h 1192213"/>
                <a:gd name="connsiteX163" fmla="*/ 133350 w 968375"/>
                <a:gd name="connsiteY163" fmla="*/ 63500 h 1192213"/>
                <a:gd name="connsiteX164" fmla="*/ 85564 w 968375"/>
                <a:gd name="connsiteY164" fmla="*/ 0 h 1192213"/>
                <a:gd name="connsiteX165" fmla="*/ 952662 w 968375"/>
                <a:gd name="connsiteY165" fmla="*/ 0 h 1192213"/>
                <a:gd name="connsiteX166" fmla="*/ 968375 w 968375"/>
                <a:gd name="connsiteY166" fmla="*/ 15706 h 1192213"/>
                <a:gd name="connsiteX167" fmla="*/ 968375 w 968375"/>
                <a:gd name="connsiteY167" fmla="*/ 1176507 h 1192213"/>
                <a:gd name="connsiteX168" fmla="*/ 952662 w 968375"/>
                <a:gd name="connsiteY168" fmla="*/ 1192213 h 1192213"/>
                <a:gd name="connsiteX169" fmla="*/ 85564 w 968375"/>
                <a:gd name="connsiteY169" fmla="*/ 1192213 h 1192213"/>
                <a:gd name="connsiteX170" fmla="*/ 69850 w 968375"/>
                <a:gd name="connsiteY170" fmla="*/ 1176507 h 1192213"/>
                <a:gd name="connsiteX171" fmla="*/ 69850 w 968375"/>
                <a:gd name="connsiteY171" fmla="*/ 1072278 h 1192213"/>
                <a:gd name="connsiteX172" fmla="*/ 84849 w 968375"/>
                <a:gd name="connsiteY172" fmla="*/ 1072278 h 1192213"/>
                <a:gd name="connsiteX173" fmla="*/ 100563 w 968375"/>
                <a:gd name="connsiteY173" fmla="*/ 1072278 h 1192213"/>
                <a:gd name="connsiteX174" fmla="*/ 101277 w 968375"/>
                <a:gd name="connsiteY174" fmla="*/ 1072278 h 1192213"/>
                <a:gd name="connsiteX175" fmla="*/ 101277 w 968375"/>
                <a:gd name="connsiteY175" fmla="*/ 1145096 h 1192213"/>
                <a:gd name="connsiteX176" fmla="*/ 101277 w 968375"/>
                <a:gd name="connsiteY176" fmla="*/ 1160802 h 1192213"/>
                <a:gd name="connsiteX177" fmla="*/ 116991 w 968375"/>
                <a:gd name="connsiteY177" fmla="*/ 1160802 h 1192213"/>
                <a:gd name="connsiteX178" fmla="*/ 313409 w 968375"/>
                <a:gd name="connsiteY178" fmla="*/ 1160802 h 1192213"/>
                <a:gd name="connsiteX179" fmla="*/ 329123 w 968375"/>
                <a:gd name="connsiteY179" fmla="*/ 1160802 h 1192213"/>
                <a:gd name="connsiteX180" fmla="*/ 921235 w 968375"/>
                <a:gd name="connsiteY180" fmla="*/ 1160802 h 1192213"/>
                <a:gd name="connsiteX181" fmla="*/ 936948 w 968375"/>
                <a:gd name="connsiteY181" fmla="*/ 1160802 h 1192213"/>
                <a:gd name="connsiteX182" fmla="*/ 936948 w 968375"/>
                <a:gd name="connsiteY182" fmla="*/ 1145096 h 1192213"/>
                <a:gd name="connsiteX183" fmla="*/ 936948 w 968375"/>
                <a:gd name="connsiteY183" fmla="*/ 47117 h 1192213"/>
                <a:gd name="connsiteX184" fmla="*/ 936948 w 968375"/>
                <a:gd name="connsiteY184" fmla="*/ 31411 h 1192213"/>
                <a:gd name="connsiteX185" fmla="*/ 329123 w 968375"/>
                <a:gd name="connsiteY185" fmla="*/ 31411 h 1192213"/>
                <a:gd name="connsiteX186" fmla="*/ 313409 w 968375"/>
                <a:gd name="connsiteY186" fmla="*/ 31411 h 1192213"/>
                <a:gd name="connsiteX187" fmla="*/ 101277 w 968375"/>
                <a:gd name="connsiteY187" fmla="*/ 31411 h 1192213"/>
                <a:gd name="connsiteX188" fmla="*/ 101277 w 968375"/>
                <a:gd name="connsiteY188" fmla="*/ 47117 h 1192213"/>
                <a:gd name="connsiteX189" fmla="*/ 101277 w 968375"/>
                <a:gd name="connsiteY189" fmla="*/ 118507 h 1192213"/>
                <a:gd name="connsiteX190" fmla="*/ 100563 w 968375"/>
                <a:gd name="connsiteY190" fmla="*/ 118507 h 1192213"/>
                <a:gd name="connsiteX191" fmla="*/ 84849 w 968375"/>
                <a:gd name="connsiteY191" fmla="*/ 118507 h 1192213"/>
                <a:gd name="connsiteX192" fmla="*/ 69850 w 968375"/>
                <a:gd name="connsiteY192" fmla="*/ 118507 h 1192213"/>
                <a:gd name="connsiteX193" fmla="*/ 69850 w 968375"/>
                <a:gd name="connsiteY193" fmla="*/ 15706 h 1192213"/>
                <a:gd name="connsiteX194" fmla="*/ 85564 w 968375"/>
                <a:gd name="connsiteY194" fmla="*/ 0 h 119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968375" h="1192213">
                  <a:moveTo>
                    <a:pt x="7161" y="931863"/>
                  </a:moveTo>
                  <a:cubicBezTo>
                    <a:pt x="7161" y="931863"/>
                    <a:pt x="17186" y="931863"/>
                    <a:pt x="69458" y="931863"/>
                  </a:cubicBezTo>
                  <a:cubicBezTo>
                    <a:pt x="73755" y="931863"/>
                    <a:pt x="78767" y="931863"/>
                    <a:pt x="84496" y="931863"/>
                  </a:cubicBezTo>
                  <a:cubicBezTo>
                    <a:pt x="89508" y="931863"/>
                    <a:pt x="94521" y="931863"/>
                    <a:pt x="100249" y="931863"/>
                  </a:cubicBezTo>
                  <a:cubicBezTo>
                    <a:pt x="100249" y="931863"/>
                    <a:pt x="100249" y="931863"/>
                    <a:pt x="100965" y="931863"/>
                  </a:cubicBezTo>
                  <a:cubicBezTo>
                    <a:pt x="105262" y="931863"/>
                    <a:pt x="110274" y="931863"/>
                    <a:pt x="116003" y="931863"/>
                  </a:cubicBezTo>
                  <a:cubicBezTo>
                    <a:pt x="121015" y="931863"/>
                    <a:pt x="126744" y="931863"/>
                    <a:pt x="132472" y="931863"/>
                  </a:cubicBezTo>
                  <a:cubicBezTo>
                    <a:pt x="141065" y="931863"/>
                    <a:pt x="151090" y="931863"/>
                    <a:pt x="161115" y="931863"/>
                  </a:cubicBezTo>
                  <a:cubicBezTo>
                    <a:pt x="165411" y="931863"/>
                    <a:pt x="168275" y="934727"/>
                    <a:pt x="168275" y="939022"/>
                  </a:cubicBezTo>
                  <a:cubicBezTo>
                    <a:pt x="168275" y="939022"/>
                    <a:pt x="168275" y="939022"/>
                    <a:pt x="168275" y="1034242"/>
                  </a:cubicBezTo>
                  <a:cubicBezTo>
                    <a:pt x="168275" y="1038537"/>
                    <a:pt x="165411" y="1041401"/>
                    <a:pt x="161115" y="1041401"/>
                  </a:cubicBezTo>
                  <a:cubicBezTo>
                    <a:pt x="161115" y="1041401"/>
                    <a:pt x="156102" y="1041401"/>
                    <a:pt x="132472" y="1041401"/>
                  </a:cubicBezTo>
                  <a:cubicBezTo>
                    <a:pt x="127460" y="1041401"/>
                    <a:pt x="122447" y="1041401"/>
                    <a:pt x="116003" y="1041401"/>
                  </a:cubicBezTo>
                  <a:cubicBezTo>
                    <a:pt x="110990" y="1041401"/>
                    <a:pt x="105978" y="1041401"/>
                    <a:pt x="100965" y="1041401"/>
                  </a:cubicBezTo>
                  <a:cubicBezTo>
                    <a:pt x="100249" y="1041401"/>
                    <a:pt x="100249" y="1041401"/>
                    <a:pt x="100249" y="1041401"/>
                  </a:cubicBezTo>
                  <a:cubicBezTo>
                    <a:pt x="95237" y="1041401"/>
                    <a:pt x="90224" y="1041401"/>
                    <a:pt x="84496" y="1041401"/>
                  </a:cubicBezTo>
                  <a:cubicBezTo>
                    <a:pt x="79483" y="1041401"/>
                    <a:pt x="74471" y="1041401"/>
                    <a:pt x="69458" y="1041401"/>
                  </a:cubicBezTo>
                  <a:cubicBezTo>
                    <a:pt x="51557" y="1041401"/>
                    <a:pt x="31507" y="1041401"/>
                    <a:pt x="7161" y="1041401"/>
                  </a:cubicBezTo>
                  <a:cubicBezTo>
                    <a:pt x="2865" y="1041401"/>
                    <a:pt x="0" y="1038537"/>
                    <a:pt x="0" y="1034242"/>
                  </a:cubicBezTo>
                  <a:cubicBezTo>
                    <a:pt x="0" y="1034242"/>
                    <a:pt x="0" y="1034242"/>
                    <a:pt x="0" y="939022"/>
                  </a:cubicBezTo>
                  <a:cubicBezTo>
                    <a:pt x="0" y="934727"/>
                    <a:pt x="2865" y="931863"/>
                    <a:pt x="7161" y="931863"/>
                  </a:cubicBezTo>
                  <a:close/>
                  <a:moveTo>
                    <a:pt x="69850" y="811213"/>
                  </a:moveTo>
                  <a:lnTo>
                    <a:pt x="84138" y="811213"/>
                  </a:lnTo>
                  <a:lnTo>
                    <a:pt x="100013" y="811213"/>
                  </a:lnTo>
                  <a:lnTo>
                    <a:pt x="101600" y="811213"/>
                  </a:lnTo>
                  <a:lnTo>
                    <a:pt x="101600" y="900113"/>
                  </a:lnTo>
                  <a:lnTo>
                    <a:pt x="100013" y="900113"/>
                  </a:lnTo>
                  <a:lnTo>
                    <a:pt x="84138" y="900113"/>
                  </a:lnTo>
                  <a:lnTo>
                    <a:pt x="69850" y="900113"/>
                  </a:lnTo>
                  <a:close/>
                  <a:moveTo>
                    <a:pt x="7161" y="671513"/>
                  </a:moveTo>
                  <a:cubicBezTo>
                    <a:pt x="7161" y="671513"/>
                    <a:pt x="17186" y="671513"/>
                    <a:pt x="69458" y="671513"/>
                  </a:cubicBezTo>
                  <a:cubicBezTo>
                    <a:pt x="73755" y="671513"/>
                    <a:pt x="78767" y="671513"/>
                    <a:pt x="84496" y="671513"/>
                  </a:cubicBezTo>
                  <a:cubicBezTo>
                    <a:pt x="89508" y="671513"/>
                    <a:pt x="94521" y="671513"/>
                    <a:pt x="100249" y="671513"/>
                  </a:cubicBezTo>
                  <a:cubicBezTo>
                    <a:pt x="100249" y="671513"/>
                    <a:pt x="100249" y="671513"/>
                    <a:pt x="100965" y="671513"/>
                  </a:cubicBezTo>
                  <a:cubicBezTo>
                    <a:pt x="105262" y="671513"/>
                    <a:pt x="110274" y="671513"/>
                    <a:pt x="116003" y="671513"/>
                  </a:cubicBezTo>
                  <a:cubicBezTo>
                    <a:pt x="121015" y="671513"/>
                    <a:pt x="126744" y="671513"/>
                    <a:pt x="132472" y="671513"/>
                  </a:cubicBezTo>
                  <a:cubicBezTo>
                    <a:pt x="141065" y="671513"/>
                    <a:pt x="151090" y="671513"/>
                    <a:pt x="161115" y="671513"/>
                  </a:cubicBezTo>
                  <a:cubicBezTo>
                    <a:pt x="165411" y="671513"/>
                    <a:pt x="168275" y="675093"/>
                    <a:pt x="168275" y="678672"/>
                  </a:cubicBezTo>
                  <a:cubicBezTo>
                    <a:pt x="168275" y="678672"/>
                    <a:pt x="168275" y="678672"/>
                    <a:pt x="168275" y="773892"/>
                  </a:cubicBezTo>
                  <a:cubicBezTo>
                    <a:pt x="168275" y="777471"/>
                    <a:pt x="165411" y="781051"/>
                    <a:pt x="161115" y="781051"/>
                  </a:cubicBezTo>
                  <a:cubicBezTo>
                    <a:pt x="161115" y="781051"/>
                    <a:pt x="156102" y="781051"/>
                    <a:pt x="132472" y="781051"/>
                  </a:cubicBezTo>
                  <a:cubicBezTo>
                    <a:pt x="127460" y="781051"/>
                    <a:pt x="122447" y="781051"/>
                    <a:pt x="116003" y="781051"/>
                  </a:cubicBezTo>
                  <a:cubicBezTo>
                    <a:pt x="110990" y="781051"/>
                    <a:pt x="105978" y="781051"/>
                    <a:pt x="100965" y="781051"/>
                  </a:cubicBezTo>
                  <a:cubicBezTo>
                    <a:pt x="100249" y="781051"/>
                    <a:pt x="100249" y="781051"/>
                    <a:pt x="100249" y="781051"/>
                  </a:cubicBezTo>
                  <a:cubicBezTo>
                    <a:pt x="95237" y="781051"/>
                    <a:pt x="90224" y="781051"/>
                    <a:pt x="84496" y="781051"/>
                  </a:cubicBezTo>
                  <a:cubicBezTo>
                    <a:pt x="79483" y="781051"/>
                    <a:pt x="74471" y="781051"/>
                    <a:pt x="69458" y="781051"/>
                  </a:cubicBezTo>
                  <a:cubicBezTo>
                    <a:pt x="51557" y="781051"/>
                    <a:pt x="31507" y="781051"/>
                    <a:pt x="7161" y="781051"/>
                  </a:cubicBezTo>
                  <a:cubicBezTo>
                    <a:pt x="2865" y="781051"/>
                    <a:pt x="0" y="777471"/>
                    <a:pt x="0" y="773892"/>
                  </a:cubicBezTo>
                  <a:cubicBezTo>
                    <a:pt x="0" y="773892"/>
                    <a:pt x="0" y="773892"/>
                    <a:pt x="0" y="678672"/>
                  </a:cubicBezTo>
                  <a:cubicBezTo>
                    <a:pt x="0" y="675093"/>
                    <a:pt x="2865" y="671513"/>
                    <a:pt x="7161" y="671513"/>
                  </a:cubicBezTo>
                  <a:close/>
                  <a:moveTo>
                    <a:pt x="69850" y="550863"/>
                  </a:moveTo>
                  <a:lnTo>
                    <a:pt x="84138" y="550863"/>
                  </a:lnTo>
                  <a:lnTo>
                    <a:pt x="100013" y="550863"/>
                  </a:lnTo>
                  <a:lnTo>
                    <a:pt x="101600" y="550863"/>
                  </a:lnTo>
                  <a:lnTo>
                    <a:pt x="101600" y="639763"/>
                  </a:lnTo>
                  <a:lnTo>
                    <a:pt x="100013" y="639763"/>
                  </a:lnTo>
                  <a:lnTo>
                    <a:pt x="84138" y="639763"/>
                  </a:lnTo>
                  <a:lnTo>
                    <a:pt x="69850" y="639763"/>
                  </a:lnTo>
                  <a:close/>
                  <a:moveTo>
                    <a:pt x="7161" y="411163"/>
                  </a:moveTo>
                  <a:cubicBezTo>
                    <a:pt x="7161" y="411163"/>
                    <a:pt x="17186" y="411163"/>
                    <a:pt x="69458" y="411163"/>
                  </a:cubicBezTo>
                  <a:cubicBezTo>
                    <a:pt x="73755" y="411163"/>
                    <a:pt x="78767" y="411163"/>
                    <a:pt x="84496" y="411163"/>
                  </a:cubicBezTo>
                  <a:cubicBezTo>
                    <a:pt x="89508" y="411163"/>
                    <a:pt x="94521" y="411163"/>
                    <a:pt x="100249" y="411163"/>
                  </a:cubicBezTo>
                  <a:cubicBezTo>
                    <a:pt x="100249" y="411163"/>
                    <a:pt x="100249" y="411163"/>
                    <a:pt x="100965" y="411163"/>
                  </a:cubicBezTo>
                  <a:cubicBezTo>
                    <a:pt x="105262" y="411163"/>
                    <a:pt x="110274" y="411163"/>
                    <a:pt x="116003" y="411163"/>
                  </a:cubicBezTo>
                  <a:cubicBezTo>
                    <a:pt x="121015" y="411163"/>
                    <a:pt x="126744" y="411163"/>
                    <a:pt x="132472" y="411163"/>
                  </a:cubicBezTo>
                  <a:cubicBezTo>
                    <a:pt x="141065" y="411163"/>
                    <a:pt x="151090" y="411163"/>
                    <a:pt x="161115" y="411163"/>
                  </a:cubicBezTo>
                  <a:cubicBezTo>
                    <a:pt x="165411" y="411163"/>
                    <a:pt x="168275" y="414691"/>
                    <a:pt x="168275" y="418218"/>
                  </a:cubicBezTo>
                  <a:cubicBezTo>
                    <a:pt x="168275" y="418218"/>
                    <a:pt x="168275" y="418218"/>
                    <a:pt x="168275" y="512057"/>
                  </a:cubicBezTo>
                  <a:cubicBezTo>
                    <a:pt x="168275" y="515585"/>
                    <a:pt x="165411" y="519113"/>
                    <a:pt x="161115" y="519113"/>
                  </a:cubicBezTo>
                  <a:cubicBezTo>
                    <a:pt x="161115" y="519113"/>
                    <a:pt x="156102" y="519113"/>
                    <a:pt x="132472" y="519113"/>
                  </a:cubicBezTo>
                  <a:cubicBezTo>
                    <a:pt x="127460" y="519113"/>
                    <a:pt x="122447" y="519113"/>
                    <a:pt x="116003" y="519113"/>
                  </a:cubicBezTo>
                  <a:cubicBezTo>
                    <a:pt x="110990" y="519113"/>
                    <a:pt x="105978" y="519113"/>
                    <a:pt x="100965" y="519113"/>
                  </a:cubicBezTo>
                  <a:cubicBezTo>
                    <a:pt x="100249" y="519113"/>
                    <a:pt x="100249" y="519113"/>
                    <a:pt x="100249" y="519113"/>
                  </a:cubicBezTo>
                  <a:cubicBezTo>
                    <a:pt x="95237" y="519113"/>
                    <a:pt x="90224" y="519113"/>
                    <a:pt x="84496" y="519113"/>
                  </a:cubicBezTo>
                  <a:cubicBezTo>
                    <a:pt x="79483" y="519113"/>
                    <a:pt x="74471" y="519113"/>
                    <a:pt x="69458" y="519113"/>
                  </a:cubicBezTo>
                  <a:cubicBezTo>
                    <a:pt x="51557" y="519113"/>
                    <a:pt x="31507" y="519113"/>
                    <a:pt x="7161" y="519113"/>
                  </a:cubicBezTo>
                  <a:cubicBezTo>
                    <a:pt x="2865" y="519113"/>
                    <a:pt x="0" y="515585"/>
                    <a:pt x="0" y="512057"/>
                  </a:cubicBezTo>
                  <a:cubicBezTo>
                    <a:pt x="0" y="512057"/>
                    <a:pt x="0" y="512057"/>
                    <a:pt x="0" y="418218"/>
                  </a:cubicBezTo>
                  <a:cubicBezTo>
                    <a:pt x="0" y="414691"/>
                    <a:pt x="2865" y="411163"/>
                    <a:pt x="7161" y="411163"/>
                  </a:cubicBezTo>
                  <a:close/>
                  <a:moveTo>
                    <a:pt x="599481" y="377825"/>
                  </a:moveTo>
                  <a:cubicBezTo>
                    <a:pt x="507986" y="377825"/>
                    <a:pt x="462238" y="433466"/>
                    <a:pt x="439365" y="480546"/>
                  </a:cubicBezTo>
                  <a:cubicBezTo>
                    <a:pt x="400050" y="564720"/>
                    <a:pt x="465098" y="648894"/>
                    <a:pt x="496549" y="682421"/>
                  </a:cubicBezTo>
                  <a:cubicBezTo>
                    <a:pt x="496549" y="682421"/>
                    <a:pt x="496549" y="682421"/>
                    <a:pt x="496549" y="778721"/>
                  </a:cubicBezTo>
                  <a:cubicBezTo>
                    <a:pt x="496549" y="783001"/>
                    <a:pt x="498694" y="786568"/>
                    <a:pt x="502268" y="787995"/>
                  </a:cubicBezTo>
                  <a:cubicBezTo>
                    <a:pt x="565885" y="813675"/>
                    <a:pt x="647373" y="814388"/>
                    <a:pt x="654521" y="814388"/>
                  </a:cubicBezTo>
                  <a:cubicBezTo>
                    <a:pt x="660240" y="814388"/>
                    <a:pt x="663814" y="809395"/>
                    <a:pt x="663814" y="805115"/>
                  </a:cubicBezTo>
                  <a:cubicBezTo>
                    <a:pt x="663814" y="805115"/>
                    <a:pt x="663814" y="805115"/>
                    <a:pt x="663814" y="738774"/>
                  </a:cubicBezTo>
                  <a:cubicBezTo>
                    <a:pt x="703843" y="742341"/>
                    <a:pt x="733150" y="738774"/>
                    <a:pt x="741728" y="733781"/>
                  </a:cubicBezTo>
                  <a:cubicBezTo>
                    <a:pt x="752450" y="728074"/>
                    <a:pt x="753165" y="715234"/>
                    <a:pt x="754594" y="690981"/>
                  </a:cubicBezTo>
                  <a:cubicBezTo>
                    <a:pt x="754594" y="690981"/>
                    <a:pt x="754594" y="690981"/>
                    <a:pt x="755309" y="688127"/>
                  </a:cubicBezTo>
                  <a:cubicBezTo>
                    <a:pt x="756024" y="672434"/>
                    <a:pt x="753879" y="649607"/>
                    <a:pt x="752450" y="636054"/>
                  </a:cubicBezTo>
                  <a:cubicBezTo>
                    <a:pt x="781757" y="635340"/>
                    <a:pt x="790335" y="619647"/>
                    <a:pt x="791049" y="614653"/>
                  </a:cubicBezTo>
                  <a:cubicBezTo>
                    <a:pt x="795338" y="603240"/>
                    <a:pt x="784616" y="591827"/>
                    <a:pt x="773894" y="579700"/>
                  </a:cubicBezTo>
                  <a:cubicBezTo>
                    <a:pt x="772464" y="578273"/>
                    <a:pt x="771750" y="577560"/>
                    <a:pt x="770320" y="576133"/>
                  </a:cubicBezTo>
                  <a:cubicBezTo>
                    <a:pt x="765316" y="570426"/>
                    <a:pt x="758883" y="559013"/>
                    <a:pt x="754594" y="544033"/>
                  </a:cubicBezTo>
                  <a:cubicBezTo>
                    <a:pt x="753165" y="540466"/>
                    <a:pt x="751735" y="534760"/>
                    <a:pt x="750305" y="527626"/>
                  </a:cubicBezTo>
                  <a:cubicBezTo>
                    <a:pt x="748161" y="519779"/>
                    <a:pt x="746731" y="510506"/>
                    <a:pt x="743872" y="503373"/>
                  </a:cubicBezTo>
                  <a:cubicBezTo>
                    <a:pt x="741728" y="495526"/>
                    <a:pt x="739583" y="471272"/>
                    <a:pt x="738869" y="458432"/>
                  </a:cubicBezTo>
                  <a:cubicBezTo>
                    <a:pt x="740298" y="458432"/>
                    <a:pt x="742443" y="459859"/>
                    <a:pt x="743157" y="459859"/>
                  </a:cubicBezTo>
                  <a:cubicBezTo>
                    <a:pt x="743872" y="459859"/>
                    <a:pt x="743872" y="459146"/>
                    <a:pt x="744587" y="458432"/>
                  </a:cubicBezTo>
                  <a:cubicBezTo>
                    <a:pt x="749591" y="437032"/>
                    <a:pt x="781042" y="402792"/>
                    <a:pt x="771035" y="402792"/>
                  </a:cubicBezTo>
                  <a:cubicBezTo>
                    <a:pt x="673821" y="404219"/>
                    <a:pt x="704558" y="377825"/>
                    <a:pt x="599481" y="377825"/>
                  </a:cubicBezTo>
                  <a:close/>
                  <a:moveTo>
                    <a:pt x="69850" y="290513"/>
                  </a:moveTo>
                  <a:lnTo>
                    <a:pt x="84138" y="290513"/>
                  </a:lnTo>
                  <a:lnTo>
                    <a:pt x="100013" y="290513"/>
                  </a:lnTo>
                  <a:lnTo>
                    <a:pt x="101600" y="290513"/>
                  </a:lnTo>
                  <a:lnTo>
                    <a:pt x="101600" y="379413"/>
                  </a:lnTo>
                  <a:lnTo>
                    <a:pt x="100013" y="379413"/>
                  </a:lnTo>
                  <a:lnTo>
                    <a:pt x="84138" y="379413"/>
                  </a:lnTo>
                  <a:lnTo>
                    <a:pt x="69850" y="379413"/>
                  </a:lnTo>
                  <a:close/>
                  <a:moveTo>
                    <a:pt x="7161" y="150813"/>
                  </a:moveTo>
                  <a:cubicBezTo>
                    <a:pt x="31507" y="150813"/>
                    <a:pt x="51557" y="150813"/>
                    <a:pt x="69458" y="150813"/>
                  </a:cubicBezTo>
                  <a:cubicBezTo>
                    <a:pt x="74471" y="150813"/>
                    <a:pt x="79483" y="150813"/>
                    <a:pt x="84496" y="150813"/>
                  </a:cubicBezTo>
                  <a:cubicBezTo>
                    <a:pt x="90224" y="150813"/>
                    <a:pt x="95237" y="150813"/>
                    <a:pt x="100249" y="150813"/>
                  </a:cubicBezTo>
                  <a:cubicBezTo>
                    <a:pt x="100249" y="150813"/>
                    <a:pt x="100249" y="150813"/>
                    <a:pt x="100965" y="150813"/>
                  </a:cubicBezTo>
                  <a:cubicBezTo>
                    <a:pt x="105978" y="150813"/>
                    <a:pt x="110990" y="150813"/>
                    <a:pt x="116003" y="150813"/>
                  </a:cubicBezTo>
                  <a:cubicBezTo>
                    <a:pt x="122447" y="150813"/>
                    <a:pt x="127460" y="150813"/>
                    <a:pt x="132472" y="150813"/>
                  </a:cubicBezTo>
                  <a:cubicBezTo>
                    <a:pt x="156102" y="150813"/>
                    <a:pt x="161115" y="150813"/>
                    <a:pt x="161115" y="150813"/>
                  </a:cubicBezTo>
                  <a:cubicBezTo>
                    <a:pt x="165411" y="150813"/>
                    <a:pt x="168275" y="153635"/>
                    <a:pt x="168275" y="157868"/>
                  </a:cubicBezTo>
                  <a:cubicBezTo>
                    <a:pt x="168275" y="251707"/>
                    <a:pt x="168275" y="251707"/>
                    <a:pt x="168275" y="251707"/>
                  </a:cubicBezTo>
                  <a:cubicBezTo>
                    <a:pt x="168275" y="255941"/>
                    <a:pt x="165411" y="258763"/>
                    <a:pt x="161115" y="258763"/>
                  </a:cubicBezTo>
                  <a:cubicBezTo>
                    <a:pt x="151090" y="258763"/>
                    <a:pt x="141065" y="258763"/>
                    <a:pt x="132472" y="258763"/>
                  </a:cubicBezTo>
                  <a:cubicBezTo>
                    <a:pt x="126744" y="258763"/>
                    <a:pt x="121015" y="258763"/>
                    <a:pt x="116003" y="258763"/>
                  </a:cubicBezTo>
                  <a:cubicBezTo>
                    <a:pt x="110274" y="258763"/>
                    <a:pt x="105262" y="258763"/>
                    <a:pt x="100965" y="258763"/>
                  </a:cubicBezTo>
                  <a:cubicBezTo>
                    <a:pt x="100249" y="258763"/>
                    <a:pt x="100249" y="258763"/>
                    <a:pt x="100249" y="258763"/>
                  </a:cubicBezTo>
                  <a:cubicBezTo>
                    <a:pt x="94521" y="258763"/>
                    <a:pt x="89508" y="258763"/>
                    <a:pt x="84496" y="258763"/>
                  </a:cubicBezTo>
                  <a:cubicBezTo>
                    <a:pt x="78767" y="258763"/>
                    <a:pt x="73755" y="258763"/>
                    <a:pt x="69458" y="258763"/>
                  </a:cubicBezTo>
                  <a:cubicBezTo>
                    <a:pt x="17186" y="258763"/>
                    <a:pt x="7161" y="258763"/>
                    <a:pt x="7161" y="258763"/>
                  </a:cubicBezTo>
                  <a:cubicBezTo>
                    <a:pt x="2865" y="258763"/>
                    <a:pt x="0" y="255941"/>
                    <a:pt x="0" y="251707"/>
                  </a:cubicBezTo>
                  <a:cubicBezTo>
                    <a:pt x="0" y="157868"/>
                    <a:pt x="0" y="157868"/>
                    <a:pt x="0" y="157868"/>
                  </a:cubicBezTo>
                  <a:cubicBezTo>
                    <a:pt x="0" y="153635"/>
                    <a:pt x="2865" y="150813"/>
                    <a:pt x="7161" y="150813"/>
                  </a:cubicBezTo>
                  <a:close/>
                  <a:moveTo>
                    <a:pt x="328613" y="63500"/>
                  </a:moveTo>
                  <a:lnTo>
                    <a:pt x="906463" y="63500"/>
                  </a:lnTo>
                  <a:lnTo>
                    <a:pt x="906463" y="1128713"/>
                  </a:lnTo>
                  <a:lnTo>
                    <a:pt x="328613" y="1128713"/>
                  </a:lnTo>
                  <a:close/>
                  <a:moveTo>
                    <a:pt x="133350" y="63500"/>
                  </a:moveTo>
                  <a:cubicBezTo>
                    <a:pt x="133350" y="63500"/>
                    <a:pt x="133350" y="63500"/>
                    <a:pt x="296863" y="63500"/>
                  </a:cubicBezTo>
                  <a:cubicBezTo>
                    <a:pt x="296863" y="63500"/>
                    <a:pt x="296863" y="63500"/>
                    <a:pt x="296863" y="1128713"/>
                  </a:cubicBezTo>
                  <a:cubicBezTo>
                    <a:pt x="296863" y="1128713"/>
                    <a:pt x="296863" y="1128713"/>
                    <a:pt x="133350" y="1128713"/>
                  </a:cubicBezTo>
                  <a:cubicBezTo>
                    <a:pt x="133350" y="1128713"/>
                    <a:pt x="133350" y="1128713"/>
                    <a:pt x="133350" y="1071674"/>
                  </a:cubicBezTo>
                  <a:cubicBezTo>
                    <a:pt x="133350" y="1071674"/>
                    <a:pt x="133350" y="1071674"/>
                    <a:pt x="161664" y="1071674"/>
                  </a:cubicBezTo>
                  <a:cubicBezTo>
                    <a:pt x="183607" y="1071674"/>
                    <a:pt x="199888" y="1054562"/>
                    <a:pt x="199888" y="1033172"/>
                  </a:cubicBezTo>
                  <a:cubicBezTo>
                    <a:pt x="199888" y="1033172"/>
                    <a:pt x="199888" y="1033172"/>
                    <a:pt x="199888" y="938344"/>
                  </a:cubicBezTo>
                  <a:cubicBezTo>
                    <a:pt x="199888" y="916954"/>
                    <a:pt x="183607" y="899842"/>
                    <a:pt x="161664" y="899842"/>
                  </a:cubicBezTo>
                  <a:cubicBezTo>
                    <a:pt x="161664" y="899842"/>
                    <a:pt x="161664" y="899842"/>
                    <a:pt x="133350" y="899842"/>
                  </a:cubicBezTo>
                  <a:cubicBezTo>
                    <a:pt x="133350" y="899842"/>
                    <a:pt x="133350" y="899842"/>
                    <a:pt x="133350" y="811431"/>
                  </a:cubicBezTo>
                  <a:cubicBezTo>
                    <a:pt x="133350" y="811431"/>
                    <a:pt x="133350" y="811431"/>
                    <a:pt x="161664" y="811431"/>
                  </a:cubicBezTo>
                  <a:cubicBezTo>
                    <a:pt x="182900" y="811431"/>
                    <a:pt x="199888" y="794319"/>
                    <a:pt x="199888" y="772929"/>
                  </a:cubicBezTo>
                  <a:cubicBezTo>
                    <a:pt x="199888" y="772929"/>
                    <a:pt x="199888" y="772929"/>
                    <a:pt x="199888" y="678101"/>
                  </a:cubicBezTo>
                  <a:cubicBezTo>
                    <a:pt x="199888" y="656711"/>
                    <a:pt x="182900" y="639599"/>
                    <a:pt x="161664" y="639599"/>
                  </a:cubicBezTo>
                  <a:cubicBezTo>
                    <a:pt x="161664" y="639599"/>
                    <a:pt x="161664" y="639599"/>
                    <a:pt x="133350" y="639599"/>
                  </a:cubicBezTo>
                  <a:cubicBezTo>
                    <a:pt x="133350" y="639599"/>
                    <a:pt x="133350" y="639599"/>
                    <a:pt x="133350" y="551188"/>
                  </a:cubicBezTo>
                  <a:cubicBezTo>
                    <a:pt x="133350" y="551188"/>
                    <a:pt x="133350" y="551188"/>
                    <a:pt x="161664" y="551188"/>
                  </a:cubicBezTo>
                  <a:cubicBezTo>
                    <a:pt x="182900" y="551188"/>
                    <a:pt x="199888" y="534076"/>
                    <a:pt x="199888" y="512686"/>
                  </a:cubicBezTo>
                  <a:cubicBezTo>
                    <a:pt x="199888" y="512686"/>
                    <a:pt x="199888" y="512686"/>
                    <a:pt x="199888" y="417858"/>
                  </a:cubicBezTo>
                  <a:cubicBezTo>
                    <a:pt x="199888" y="396468"/>
                    <a:pt x="182900" y="379356"/>
                    <a:pt x="161664" y="379356"/>
                  </a:cubicBezTo>
                  <a:cubicBezTo>
                    <a:pt x="161664" y="379356"/>
                    <a:pt x="161664" y="379356"/>
                    <a:pt x="133350" y="379356"/>
                  </a:cubicBezTo>
                  <a:cubicBezTo>
                    <a:pt x="133350" y="379356"/>
                    <a:pt x="133350" y="379356"/>
                    <a:pt x="133350" y="290945"/>
                  </a:cubicBezTo>
                  <a:cubicBezTo>
                    <a:pt x="133350" y="290945"/>
                    <a:pt x="133350" y="290945"/>
                    <a:pt x="161664" y="290945"/>
                  </a:cubicBezTo>
                  <a:cubicBezTo>
                    <a:pt x="183607" y="290945"/>
                    <a:pt x="199888" y="273833"/>
                    <a:pt x="199888" y="252443"/>
                  </a:cubicBezTo>
                  <a:cubicBezTo>
                    <a:pt x="199888" y="252443"/>
                    <a:pt x="199888" y="252443"/>
                    <a:pt x="199888" y="157615"/>
                  </a:cubicBezTo>
                  <a:cubicBezTo>
                    <a:pt x="199888" y="136225"/>
                    <a:pt x="183607" y="119113"/>
                    <a:pt x="161664" y="119113"/>
                  </a:cubicBezTo>
                  <a:cubicBezTo>
                    <a:pt x="161664" y="119113"/>
                    <a:pt x="161664" y="119113"/>
                    <a:pt x="133350" y="119113"/>
                  </a:cubicBezTo>
                  <a:cubicBezTo>
                    <a:pt x="133350" y="119113"/>
                    <a:pt x="133350" y="119113"/>
                    <a:pt x="133350" y="63500"/>
                  </a:cubicBezTo>
                  <a:close/>
                  <a:moveTo>
                    <a:pt x="85564" y="0"/>
                  </a:moveTo>
                  <a:cubicBezTo>
                    <a:pt x="85564" y="0"/>
                    <a:pt x="85564" y="0"/>
                    <a:pt x="952662" y="0"/>
                  </a:cubicBezTo>
                  <a:cubicBezTo>
                    <a:pt x="961947" y="0"/>
                    <a:pt x="968375" y="7139"/>
                    <a:pt x="968375" y="15706"/>
                  </a:cubicBezTo>
                  <a:cubicBezTo>
                    <a:pt x="968375" y="15706"/>
                    <a:pt x="968375" y="15706"/>
                    <a:pt x="968375" y="1176507"/>
                  </a:cubicBezTo>
                  <a:cubicBezTo>
                    <a:pt x="968375" y="1185788"/>
                    <a:pt x="961947" y="1192213"/>
                    <a:pt x="952662" y="1192213"/>
                  </a:cubicBezTo>
                  <a:cubicBezTo>
                    <a:pt x="952662" y="1192213"/>
                    <a:pt x="952662" y="1192213"/>
                    <a:pt x="85564" y="1192213"/>
                  </a:cubicBezTo>
                  <a:cubicBezTo>
                    <a:pt x="76278" y="1192213"/>
                    <a:pt x="69850" y="1185788"/>
                    <a:pt x="69850" y="1176507"/>
                  </a:cubicBezTo>
                  <a:cubicBezTo>
                    <a:pt x="69850" y="1176507"/>
                    <a:pt x="69850" y="1176507"/>
                    <a:pt x="69850" y="1072278"/>
                  </a:cubicBezTo>
                  <a:cubicBezTo>
                    <a:pt x="69850" y="1072278"/>
                    <a:pt x="69850" y="1072278"/>
                    <a:pt x="84849" y="1072278"/>
                  </a:cubicBezTo>
                  <a:cubicBezTo>
                    <a:pt x="84849" y="1072278"/>
                    <a:pt x="84849" y="1072278"/>
                    <a:pt x="100563" y="1072278"/>
                  </a:cubicBezTo>
                  <a:cubicBezTo>
                    <a:pt x="100563" y="1072278"/>
                    <a:pt x="100563" y="1072278"/>
                    <a:pt x="101277" y="1072278"/>
                  </a:cubicBezTo>
                  <a:cubicBezTo>
                    <a:pt x="101277" y="1072278"/>
                    <a:pt x="101277" y="1072278"/>
                    <a:pt x="101277" y="1145096"/>
                  </a:cubicBezTo>
                  <a:cubicBezTo>
                    <a:pt x="101277" y="1145096"/>
                    <a:pt x="101277" y="1145096"/>
                    <a:pt x="101277" y="1160802"/>
                  </a:cubicBezTo>
                  <a:cubicBezTo>
                    <a:pt x="101277" y="1160802"/>
                    <a:pt x="101277" y="1160802"/>
                    <a:pt x="116991" y="1160802"/>
                  </a:cubicBezTo>
                  <a:cubicBezTo>
                    <a:pt x="116991" y="1160802"/>
                    <a:pt x="116991" y="1160802"/>
                    <a:pt x="313409" y="1160802"/>
                  </a:cubicBezTo>
                  <a:cubicBezTo>
                    <a:pt x="313409" y="1160802"/>
                    <a:pt x="313409" y="1160802"/>
                    <a:pt x="329123" y="1160802"/>
                  </a:cubicBezTo>
                  <a:cubicBezTo>
                    <a:pt x="329123" y="1160802"/>
                    <a:pt x="329123" y="1160802"/>
                    <a:pt x="921235" y="1160802"/>
                  </a:cubicBezTo>
                  <a:cubicBezTo>
                    <a:pt x="921235" y="1160802"/>
                    <a:pt x="921235" y="1160802"/>
                    <a:pt x="936948" y="1160802"/>
                  </a:cubicBezTo>
                  <a:cubicBezTo>
                    <a:pt x="936948" y="1160802"/>
                    <a:pt x="936948" y="1160802"/>
                    <a:pt x="936948" y="1145096"/>
                  </a:cubicBezTo>
                  <a:cubicBezTo>
                    <a:pt x="936948" y="1145096"/>
                    <a:pt x="936948" y="1145096"/>
                    <a:pt x="936948" y="47117"/>
                  </a:cubicBezTo>
                  <a:cubicBezTo>
                    <a:pt x="936948" y="47117"/>
                    <a:pt x="936948" y="47117"/>
                    <a:pt x="936948" y="31411"/>
                  </a:cubicBezTo>
                  <a:cubicBezTo>
                    <a:pt x="936948" y="31411"/>
                    <a:pt x="936948" y="31411"/>
                    <a:pt x="329123" y="31411"/>
                  </a:cubicBezTo>
                  <a:cubicBezTo>
                    <a:pt x="329123" y="31411"/>
                    <a:pt x="329123" y="31411"/>
                    <a:pt x="313409" y="31411"/>
                  </a:cubicBezTo>
                  <a:cubicBezTo>
                    <a:pt x="313409" y="31411"/>
                    <a:pt x="313409" y="31411"/>
                    <a:pt x="101277" y="31411"/>
                  </a:cubicBezTo>
                  <a:cubicBezTo>
                    <a:pt x="101277" y="31411"/>
                    <a:pt x="101277" y="31411"/>
                    <a:pt x="101277" y="47117"/>
                  </a:cubicBezTo>
                  <a:cubicBezTo>
                    <a:pt x="101277" y="47117"/>
                    <a:pt x="101277" y="47117"/>
                    <a:pt x="101277" y="118507"/>
                  </a:cubicBezTo>
                  <a:cubicBezTo>
                    <a:pt x="101277" y="118507"/>
                    <a:pt x="101277" y="118507"/>
                    <a:pt x="100563" y="118507"/>
                  </a:cubicBezTo>
                  <a:cubicBezTo>
                    <a:pt x="100563" y="118507"/>
                    <a:pt x="100563" y="118507"/>
                    <a:pt x="84849" y="118507"/>
                  </a:cubicBezTo>
                  <a:cubicBezTo>
                    <a:pt x="84849" y="118507"/>
                    <a:pt x="84849" y="118507"/>
                    <a:pt x="69850" y="118507"/>
                  </a:cubicBezTo>
                  <a:cubicBezTo>
                    <a:pt x="69850" y="118507"/>
                    <a:pt x="69850" y="118507"/>
                    <a:pt x="69850" y="15706"/>
                  </a:cubicBezTo>
                  <a:cubicBezTo>
                    <a:pt x="69850" y="7139"/>
                    <a:pt x="76278" y="0"/>
                    <a:pt x="85564" y="0"/>
                  </a:cubicBezTo>
                  <a:close/>
                </a:path>
              </a:pathLst>
            </a:custGeom>
            <a:solidFill>
              <a:srgbClr val="29BA74"/>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29BA74"/>
                </a:solidFill>
              </a:endParaRPr>
            </a:p>
          </p:txBody>
        </p:sp>
      </p:grpSp>
      <p:sp>
        <p:nvSpPr>
          <p:cNvPr id="19" name="Rectangle: Rounded Corners 18">
            <a:extLst>
              <a:ext uri="{FF2B5EF4-FFF2-40B4-BE49-F238E27FC236}">
                <a16:creationId xmlns:a16="http://schemas.microsoft.com/office/drawing/2014/main" id="{04F63263-22F1-5E43-0D0F-B2C07AFE17DF}"/>
              </a:ext>
            </a:extLst>
          </p:cNvPr>
          <p:cNvSpPr/>
          <p:nvPr/>
        </p:nvSpPr>
        <p:spPr>
          <a:xfrm>
            <a:off x="796413" y="2123768"/>
            <a:ext cx="4709652" cy="1081548"/>
          </a:xfrm>
          <a:prstGeom prst="round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rgbClr val="575757"/>
                </a:solidFill>
              </a:rPr>
              <a:t>校友会介绍文字（后续编辑）</a:t>
            </a:r>
            <a:endParaRPr lang="en-US" sz="1200" dirty="0">
              <a:solidFill>
                <a:srgbClr val="575757"/>
              </a:solidFill>
            </a:endParaRPr>
          </a:p>
        </p:txBody>
      </p:sp>
      <p:sp>
        <p:nvSpPr>
          <p:cNvPr id="20" name="Rectangle: Rounded Corners 19">
            <a:extLst>
              <a:ext uri="{FF2B5EF4-FFF2-40B4-BE49-F238E27FC236}">
                <a16:creationId xmlns:a16="http://schemas.microsoft.com/office/drawing/2014/main" id="{DBE79496-DAB1-3C32-3263-04977988AD44}"/>
              </a:ext>
            </a:extLst>
          </p:cNvPr>
          <p:cNvSpPr/>
          <p:nvPr/>
        </p:nvSpPr>
        <p:spPr>
          <a:xfrm>
            <a:off x="797754" y="3705289"/>
            <a:ext cx="4709652" cy="1081548"/>
          </a:xfrm>
          <a:prstGeom prst="roundRect">
            <a:avLst/>
          </a:prstGeom>
          <a:solidFill>
            <a:srgbClr val="FFFFFF"/>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575757"/>
              </a:solidFill>
            </a:endParaRPr>
          </a:p>
        </p:txBody>
      </p:sp>
      <p:sp>
        <p:nvSpPr>
          <p:cNvPr id="21" name="TextBox 20">
            <a:extLst>
              <a:ext uri="{FF2B5EF4-FFF2-40B4-BE49-F238E27FC236}">
                <a16:creationId xmlns:a16="http://schemas.microsoft.com/office/drawing/2014/main" id="{B1A41CAC-29FA-67B4-A20D-D4A40F130823}"/>
              </a:ext>
            </a:extLst>
          </p:cNvPr>
          <p:cNvSpPr txBox="1"/>
          <p:nvPr/>
        </p:nvSpPr>
        <p:spPr>
          <a:xfrm>
            <a:off x="875071" y="3392126"/>
            <a:ext cx="2645995" cy="3131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CN" altLang="en-US" sz="1400" b="1" dirty="0">
                <a:solidFill>
                  <a:srgbClr val="29BA74"/>
                </a:solidFill>
              </a:rPr>
              <a:t>校友会主要成员及联系方式：</a:t>
            </a:r>
            <a:endParaRPr lang="en-US" sz="1400" b="1" dirty="0" err="1">
              <a:solidFill>
                <a:srgbClr val="29BA74"/>
              </a:solidFill>
            </a:endParaRPr>
          </a:p>
        </p:txBody>
      </p:sp>
      <p:pic>
        <p:nvPicPr>
          <p:cNvPr id="23" name="Picture 22" descr="A picture containing logo&#10;&#10;Description automatically generated">
            <a:extLst>
              <a:ext uri="{FF2B5EF4-FFF2-40B4-BE49-F238E27FC236}">
                <a16:creationId xmlns:a16="http://schemas.microsoft.com/office/drawing/2014/main" id="{3A37A51C-7931-F2B7-B010-4F0F98FD4CA7}"/>
              </a:ext>
            </a:extLst>
          </p:cNvPr>
          <p:cNvPicPr>
            <a:picLocks noChangeAspect="1"/>
          </p:cNvPicPr>
          <p:nvPr/>
        </p:nvPicPr>
        <p:blipFill>
          <a:blip r:embed="rId5"/>
          <a:stretch>
            <a:fillRect/>
          </a:stretch>
        </p:blipFill>
        <p:spPr>
          <a:xfrm>
            <a:off x="1088496" y="3868273"/>
            <a:ext cx="362624" cy="362624"/>
          </a:xfrm>
          <a:prstGeom prst="ellipse">
            <a:avLst/>
          </a:prstGeom>
          <a:ln w="63500"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4" name="TextBox 23">
            <a:extLst>
              <a:ext uri="{FF2B5EF4-FFF2-40B4-BE49-F238E27FC236}">
                <a16:creationId xmlns:a16="http://schemas.microsoft.com/office/drawing/2014/main" id="{7570E338-07E6-B141-4508-0A83C5577767}"/>
              </a:ext>
            </a:extLst>
          </p:cNvPr>
          <p:cNvSpPr txBox="1"/>
          <p:nvPr/>
        </p:nvSpPr>
        <p:spPr>
          <a:xfrm>
            <a:off x="1587785" y="3868273"/>
            <a:ext cx="1963947" cy="2386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CN" altLang="en-US" sz="1400" dirty="0">
                <a:solidFill>
                  <a:srgbClr val="575757"/>
                </a:solidFill>
              </a:rPr>
              <a:t>校友会官方微信号</a:t>
            </a:r>
            <a:endParaRPr lang="en-US" sz="1400" dirty="0" err="1">
              <a:solidFill>
                <a:srgbClr val="575757"/>
              </a:solidFill>
            </a:endParaRPr>
          </a:p>
        </p:txBody>
      </p:sp>
      <p:sp>
        <p:nvSpPr>
          <p:cNvPr id="25" name="Rectangle: Rounded Corners 24">
            <a:extLst>
              <a:ext uri="{FF2B5EF4-FFF2-40B4-BE49-F238E27FC236}">
                <a16:creationId xmlns:a16="http://schemas.microsoft.com/office/drawing/2014/main" id="{605C445E-62C5-DC5A-6668-75B61B2FBDC0}"/>
              </a:ext>
            </a:extLst>
          </p:cNvPr>
          <p:cNvSpPr/>
          <p:nvPr/>
        </p:nvSpPr>
        <p:spPr>
          <a:xfrm>
            <a:off x="1587785" y="4185497"/>
            <a:ext cx="3768984" cy="447052"/>
          </a:xfrm>
          <a:prstGeom prst="round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CN" altLang="en-US" sz="1200" dirty="0">
                <a:solidFill>
                  <a:srgbClr val="575757"/>
                </a:solidFill>
              </a:rPr>
              <a:t>微信号：</a:t>
            </a:r>
            <a:r>
              <a:rPr lang="en-US" altLang="zh-CN" sz="1200" dirty="0" err="1">
                <a:solidFill>
                  <a:srgbClr val="575757"/>
                </a:solidFill>
              </a:rPr>
              <a:t>xxxx</a:t>
            </a:r>
            <a:endParaRPr lang="en-US" sz="1200" dirty="0">
              <a:solidFill>
                <a:srgbClr val="575757"/>
              </a:solidFill>
            </a:endParaRPr>
          </a:p>
        </p:txBody>
      </p:sp>
      <p:sp>
        <p:nvSpPr>
          <p:cNvPr id="26" name="Rectangle 25">
            <a:extLst>
              <a:ext uri="{FF2B5EF4-FFF2-40B4-BE49-F238E27FC236}">
                <a16:creationId xmlns:a16="http://schemas.microsoft.com/office/drawing/2014/main" id="{FD32AE0D-A0FD-0935-F91F-071EFDF598B0}"/>
              </a:ext>
            </a:extLst>
          </p:cNvPr>
          <p:cNvSpPr/>
          <p:nvPr/>
        </p:nvSpPr>
        <p:spPr>
          <a:xfrm>
            <a:off x="2267637" y="5194875"/>
            <a:ext cx="1675098" cy="356904"/>
          </a:xfrm>
          <a:prstGeom prst="rect">
            <a:avLst/>
          </a:prstGeom>
          <a:solidFill>
            <a:srgbClr val="03522D"/>
          </a:solidFill>
          <a:ln w="9525"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200" dirty="0">
                <a:solidFill>
                  <a:srgbClr val="FFFFFF"/>
                </a:solidFill>
              </a:rPr>
              <a:t>+</a:t>
            </a:r>
            <a:r>
              <a:rPr lang="zh-CN" altLang="en-US" sz="1200" dirty="0">
                <a:solidFill>
                  <a:srgbClr val="FFFFFF"/>
                </a:solidFill>
              </a:rPr>
              <a:t>申请加入</a:t>
            </a:r>
            <a:endParaRPr lang="en-US" sz="1200" dirty="0">
              <a:solidFill>
                <a:srgbClr val="FFFFFF"/>
              </a:solidFill>
            </a:endParaRPr>
          </a:p>
        </p:txBody>
      </p:sp>
      <p:sp>
        <p:nvSpPr>
          <p:cNvPr id="27" name="Oval 20">
            <a:extLst>
              <a:ext uri="{FF2B5EF4-FFF2-40B4-BE49-F238E27FC236}">
                <a16:creationId xmlns:a16="http://schemas.microsoft.com/office/drawing/2014/main" id="{1FD8481F-E61A-BCC9-9818-8994E34B14E1}"/>
              </a:ext>
            </a:extLst>
          </p:cNvPr>
          <p:cNvSpPr>
            <a:spLocks noChangeAspect="1" noChangeArrowheads="1"/>
          </p:cNvSpPr>
          <p:nvPr/>
        </p:nvSpPr>
        <p:spPr bwMode="auto">
          <a:xfrm>
            <a:off x="3635825" y="5211436"/>
            <a:ext cx="306910" cy="306910"/>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29" name="TextBox 28">
            <a:extLst>
              <a:ext uri="{FF2B5EF4-FFF2-40B4-BE49-F238E27FC236}">
                <a16:creationId xmlns:a16="http://schemas.microsoft.com/office/drawing/2014/main" id="{413AF376-1AEF-0BB4-08EC-949CB41E6546}"/>
              </a:ext>
            </a:extLst>
          </p:cNvPr>
          <p:cNvSpPr txBox="1"/>
          <p:nvPr/>
        </p:nvSpPr>
        <p:spPr>
          <a:xfrm>
            <a:off x="5811470" y="4756349"/>
            <a:ext cx="1749535" cy="529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solidFill>
                  <a:srgbClr val="575757"/>
                </a:solidFill>
              </a:rPr>
              <a:t>点击跳转填写申请入会表格</a:t>
            </a:r>
            <a:endParaRPr lang="en-US" dirty="0" err="1">
              <a:solidFill>
                <a:srgbClr val="575757"/>
              </a:solidFill>
            </a:endParaRPr>
          </a:p>
        </p:txBody>
      </p:sp>
      <p:sp>
        <p:nvSpPr>
          <p:cNvPr id="30" name="TextBox 29">
            <a:extLst>
              <a:ext uri="{FF2B5EF4-FFF2-40B4-BE49-F238E27FC236}">
                <a16:creationId xmlns:a16="http://schemas.microsoft.com/office/drawing/2014/main" id="{A46DD1A8-B604-B8D9-C3B5-72B12D5983FB}"/>
              </a:ext>
            </a:extLst>
          </p:cNvPr>
          <p:cNvSpPr txBox="1"/>
          <p:nvPr/>
        </p:nvSpPr>
        <p:spPr>
          <a:xfrm>
            <a:off x="8104239" y="915663"/>
            <a:ext cx="2514600" cy="529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b="1" dirty="0">
                <a:solidFill>
                  <a:srgbClr val="A8B21C"/>
                </a:solidFill>
              </a:rPr>
              <a:t>表</a:t>
            </a:r>
            <a:r>
              <a:rPr lang="en-US" altLang="zh-CN" b="1" dirty="0">
                <a:solidFill>
                  <a:srgbClr val="A8B21C"/>
                </a:solidFill>
              </a:rPr>
              <a:t>2</a:t>
            </a:r>
            <a:r>
              <a:rPr lang="zh-CN" altLang="en-US" b="1" dirty="0">
                <a:solidFill>
                  <a:srgbClr val="A8B21C"/>
                </a:solidFill>
              </a:rPr>
              <a:t>：申请加入校友会</a:t>
            </a:r>
            <a:endParaRPr lang="en-US" b="1" dirty="0" err="1">
              <a:solidFill>
                <a:srgbClr val="A8B21C"/>
              </a:solidFill>
            </a:endParaRPr>
          </a:p>
        </p:txBody>
      </p:sp>
      <p:sp>
        <p:nvSpPr>
          <p:cNvPr id="31" name="Rectangle 30">
            <a:extLst>
              <a:ext uri="{FF2B5EF4-FFF2-40B4-BE49-F238E27FC236}">
                <a16:creationId xmlns:a16="http://schemas.microsoft.com/office/drawing/2014/main" id="{6868152E-1505-65ED-940B-76878A33AB16}"/>
              </a:ext>
            </a:extLst>
          </p:cNvPr>
          <p:cNvSpPr/>
          <p:nvPr/>
        </p:nvSpPr>
        <p:spPr>
          <a:xfrm>
            <a:off x="7561007" y="1533832"/>
            <a:ext cx="3677264" cy="4950127"/>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zh-CN" altLang="en-US" sz="1400" dirty="0">
                <a:solidFill>
                  <a:srgbClr val="575757"/>
                </a:solidFill>
              </a:rPr>
              <a:t>调查问卷</a:t>
            </a:r>
            <a:endParaRPr lang="en-US" altLang="zh-CN" sz="1400" dirty="0">
              <a:solidFill>
                <a:srgbClr val="575757"/>
              </a:solidFill>
            </a:endParaRPr>
          </a:p>
          <a:p>
            <a:pPr algn="ctr"/>
            <a:r>
              <a:rPr lang="zh-CN" altLang="en-US" sz="1400" dirty="0">
                <a:solidFill>
                  <a:srgbClr val="575757"/>
                </a:solidFill>
              </a:rPr>
              <a:t>（填写信息）</a:t>
            </a:r>
            <a:endParaRPr lang="en-US" altLang="zh-CN" sz="1400" dirty="0">
              <a:solidFill>
                <a:srgbClr val="575757"/>
              </a:solidFill>
            </a:endParaRPr>
          </a:p>
          <a:p>
            <a:pPr algn="ctr"/>
            <a:endParaRPr lang="en-US" sz="1400" dirty="0">
              <a:solidFill>
                <a:srgbClr val="575757"/>
              </a:solidFill>
            </a:endParaRPr>
          </a:p>
          <a:p>
            <a:pPr algn="ctr"/>
            <a:endParaRPr lang="en-US" sz="1400" dirty="0">
              <a:solidFill>
                <a:srgbClr val="575757"/>
              </a:solidFill>
            </a:endParaRPr>
          </a:p>
          <a:p>
            <a:pPr algn="ctr"/>
            <a:endParaRPr lang="en-US" sz="1400" dirty="0">
              <a:solidFill>
                <a:srgbClr val="575757"/>
              </a:solidFill>
            </a:endParaRPr>
          </a:p>
          <a:p>
            <a:pPr algn="ctr"/>
            <a:r>
              <a:rPr lang="zh-CN" altLang="en-US" sz="1400" dirty="0">
                <a:solidFill>
                  <a:srgbClr val="575757"/>
                </a:solidFill>
              </a:rPr>
              <a:t>内容后续设计</a:t>
            </a:r>
            <a:endParaRPr lang="en-US" altLang="zh-CN" sz="1400" dirty="0">
              <a:solidFill>
                <a:srgbClr val="575757"/>
              </a:solidFill>
            </a:endParaRPr>
          </a:p>
          <a:p>
            <a:pPr algn="ctr"/>
            <a:r>
              <a:rPr lang="zh-CN" altLang="en-US" sz="1400" dirty="0">
                <a:solidFill>
                  <a:srgbClr val="575757"/>
                </a:solidFill>
              </a:rPr>
              <a:t>包括姓名、联系方式、职业信息、加入意向、参与方式等</a:t>
            </a:r>
            <a:endParaRPr lang="en-US" altLang="zh-CN" sz="1400" dirty="0">
              <a:solidFill>
                <a:srgbClr val="575757"/>
              </a:solidFill>
            </a:endParaRPr>
          </a:p>
        </p:txBody>
      </p:sp>
      <p:sp>
        <p:nvSpPr>
          <p:cNvPr id="32" name="Speech Bubble: Rectangle with Corners Rounded 31">
            <a:extLst>
              <a:ext uri="{FF2B5EF4-FFF2-40B4-BE49-F238E27FC236}">
                <a16:creationId xmlns:a16="http://schemas.microsoft.com/office/drawing/2014/main" id="{1A736D19-B044-27B0-0766-AC7CC9A7ACE0}"/>
              </a:ext>
            </a:extLst>
          </p:cNvPr>
          <p:cNvSpPr/>
          <p:nvPr/>
        </p:nvSpPr>
        <p:spPr>
          <a:xfrm>
            <a:off x="8377084" y="4965290"/>
            <a:ext cx="2654710" cy="1269910"/>
          </a:xfrm>
          <a:prstGeom prst="wedgeRoundRectCallout">
            <a:avLst>
              <a:gd name="adj1" fmla="val -14036"/>
              <a:gd name="adj2" fmla="val -117125"/>
              <a:gd name="adj3" fmla="val 16667"/>
            </a:avLst>
          </a:prstGeom>
          <a:solidFill>
            <a:schemeClr val="accent3">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200" dirty="0">
                <a:solidFill>
                  <a:srgbClr val="575757"/>
                </a:solidFill>
              </a:rPr>
              <a:t>此处问卷填写的全部内容，可在后台管理端进行查看、展示</a:t>
            </a:r>
            <a:endParaRPr lang="en-US" sz="1200" dirty="0">
              <a:solidFill>
                <a:srgbClr val="575757"/>
              </a:solidFill>
            </a:endParaRPr>
          </a:p>
        </p:txBody>
      </p:sp>
      <p:cxnSp>
        <p:nvCxnSpPr>
          <p:cNvPr id="28" name="Straight Arrow Connector 27">
            <a:extLst>
              <a:ext uri="{FF2B5EF4-FFF2-40B4-BE49-F238E27FC236}">
                <a16:creationId xmlns:a16="http://schemas.microsoft.com/office/drawing/2014/main" id="{72281399-F434-42D7-D1B8-F362836A3071}"/>
              </a:ext>
            </a:extLst>
          </p:cNvPr>
          <p:cNvCxnSpPr/>
          <p:nvPr/>
        </p:nvCxnSpPr>
        <p:spPr>
          <a:xfrm>
            <a:off x="3942735" y="5364891"/>
            <a:ext cx="3618271" cy="0"/>
          </a:xfrm>
          <a:prstGeom prst="straightConnector1">
            <a:avLst/>
          </a:prstGeom>
          <a:ln w="28575" cap="rnd" cmpd="sng" algn="ctr">
            <a:solidFill>
              <a:srgbClr val="D4DF33"/>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0127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336</Words>
  <Application>Microsoft Office PowerPoint</Application>
  <PresentationFormat>Widescreen</PresentationFormat>
  <Paragraphs>63</Paragraphs>
  <Slides>5</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ariant>
        <vt:lpstr>Custom Shows</vt:lpstr>
      </vt:variant>
      <vt:variant>
        <vt:i4>1</vt:i4>
      </vt:variant>
    </vt:vector>
  </HeadingPairs>
  <TitlesOfParts>
    <vt:vector size="10" baseType="lpstr">
      <vt:lpstr>Arial</vt:lpstr>
      <vt:lpstr>Trebuchet MS</vt:lpstr>
      <vt:lpstr>BCG Grid 16:9</vt:lpstr>
      <vt:lpstr>think-cell Slide</vt:lpstr>
      <vt:lpstr>Babson China Club 微信小程序设计初稿  July 23rd, 2024</vt:lpstr>
      <vt:lpstr>我的界面—申领前</vt:lpstr>
      <vt:lpstr>我的界面—申领后</vt:lpstr>
      <vt:lpstr>首页界面</vt:lpstr>
      <vt:lpstr>组织界面</vt:lpstr>
      <vt:lpstr>Format Guide Workshop</vt:lpstr>
    </vt:vector>
  </TitlesOfParts>
  <Company>BC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hen, Emma</dc:creator>
  <cp:lastModifiedBy>Shen, Emma</cp:lastModifiedBy>
  <cp:revision>1</cp:revision>
  <cp:lastPrinted>2016-04-06T18:59:25Z</cp:lastPrinted>
  <dcterms:created xsi:type="dcterms:W3CDTF">2024-07-23T03:13:35Z</dcterms:created>
  <dcterms:modified xsi:type="dcterms:W3CDTF">2024-07-23T04:02: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db123a3e-d77f-4dd7-99f6-ff18cb6b8683_Enabled">
    <vt:lpwstr>true</vt:lpwstr>
  </property>
  <property fmtid="{D5CDD505-2E9C-101B-9397-08002B2CF9AE}" pid="8" name="MSIP_Label_db123a3e-d77f-4dd7-99f6-ff18cb6b8683_SetDate">
    <vt:lpwstr>2024-07-23T04:01:44Z</vt:lpwstr>
  </property>
  <property fmtid="{D5CDD505-2E9C-101B-9397-08002B2CF9AE}" pid="9" name="MSIP_Label_db123a3e-d77f-4dd7-99f6-ff18cb6b8683_Method">
    <vt:lpwstr>Standard</vt:lpwstr>
  </property>
  <property fmtid="{D5CDD505-2E9C-101B-9397-08002B2CF9AE}" pid="10" name="MSIP_Label_db123a3e-d77f-4dd7-99f6-ff18cb6b8683_Name">
    <vt:lpwstr>bcgCN_lbl_standard</vt:lpwstr>
  </property>
  <property fmtid="{D5CDD505-2E9C-101B-9397-08002B2CF9AE}" pid="11" name="MSIP_Label_db123a3e-d77f-4dd7-99f6-ff18cb6b8683_SiteId">
    <vt:lpwstr>69c54104-2566-493f-94f9-63c84681f2a2</vt:lpwstr>
  </property>
  <property fmtid="{D5CDD505-2E9C-101B-9397-08002B2CF9AE}" pid="12" name="MSIP_Label_db123a3e-d77f-4dd7-99f6-ff18cb6b8683_ActionId">
    <vt:lpwstr>4f2d9850-4f6a-4c0f-beac-8201ba423e2f</vt:lpwstr>
  </property>
  <property fmtid="{D5CDD505-2E9C-101B-9397-08002B2CF9AE}" pid="13" name="MSIP_Label_db123a3e-d77f-4dd7-99f6-ff18cb6b8683_ContentBits">
    <vt:lpwstr>0</vt:lpwstr>
  </property>
</Properties>
</file>